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7" r:id="rId6"/>
  </p:sldMasterIdLst>
  <p:notesMasterIdLst>
    <p:notesMasterId r:id="rId16"/>
  </p:notesMasterIdLst>
  <p:sldIdLst>
    <p:sldId id="266" r:id="rId7"/>
    <p:sldId id="275" r:id="rId8"/>
    <p:sldId id="262" r:id="rId9"/>
    <p:sldId id="265" r:id="rId10"/>
    <p:sldId id="2147482070" r:id="rId11"/>
    <p:sldId id="273" r:id="rId12"/>
    <p:sldId id="277" r:id="rId13"/>
    <p:sldId id="307" r:id="rId14"/>
    <p:sldId id="21474824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475F96-8488-48C6-A1F0-031C03FB8E85}" v="47" dt="2025-06-18T18:57:57.57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9" autoAdjust="0"/>
    <p:restoredTop sz="84468" autoAdjust="0"/>
  </p:normalViewPr>
  <p:slideViewPr>
    <p:cSldViewPr snapToGrid="0">
      <p:cViewPr varScale="1">
        <p:scale>
          <a:sx n="68" d="100"/>
          <a:sy n="68" d="100"/>
        </p:scale>
        <p:origin x="1701" y="2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fe Abugo" userId="6f9643a4-064e-43fe-88b1-4f223db45fc5" providerId="ADAL" clId="{C5475F96-8488-48C6-A1F0-031C03FB8E85}"/>
    <pc:docChg chg="undo custSel addSld delSld modSld sldOrd">
      <pc:chgData name="Efe Abugo" userId="6f9643a4-064e-43fe-88b1-4f223db45fc5" providerId="ADAL" clId="{C5475F96-8488-48C6-A1F0-031C03FB8E85}" dt="2025-06-18T18:57:57.173" v="2257" actId="20577"/>
      <pc:docMkLst>
        <pc:docMk/>
      </pc:docMkLst>
      <pc:sldChg chg="add del ord">
        <pc:chgData name="Efe Abugo" userId="6f9643a4-064e-43fe-88b1-4f223db45fc5" providerId="ADAL" clId="{C5475F96-8488-48C6-A1F0-031C03FB8E85}" dt="2025-06-17T22:00:08.882" v="77"/>
        <pc:sldMkLst>
          <pc:docMk/>
          <pc:sldMk cId="4341710" sldId="262"/>
        </pc:sldMkLst>
      </pc:sldChg>
      <pc:sldChg chg="add del ord modNotesTx">
        <pc:chgData name="Efe Abugo" userId="6f9643a4-064e-43fe-88b1-4f223db45fc5" providerId="ADAL" clId="{C5475F96-8488-48C6-A1F0-031C03FB8E85}" dt="2025-06-18T16:39:20.661" v="1664" actId="313"/>
        <pc:sldMkLst>
          <pc:docMk/>
          <pc:sldMk cId="3231535318" sldId="265"/>
        </pc:sldMkLst>
      </pc:sldChg>
      <pc:sldChg chg="modNotesTx">
        <pc:chgData name="Efe Abugo" userId="6f9643a4-064e-43fe-88b1-4f223db45fc5" providerId="ADAL" clId="{C5475F96-8488-48C6-A1F0-031C03FB8E85}" dt="2025-06-18T16:36:13.706" v="1006" actId="20577"/>
        <pc:sldMkLst>
          <pc:docMk/>
          <pc:sldMk cId="3828254724" sldId="266"/>
        </pc:sldMkLst>
      </pc:sldChg>
      <pc:sldChg chg="add del ord">
        <pc:chgData name="Efe Abugo" userId="6f9643a4-064e-43fe-88b1-4f223db45fc5" providerId="ADAL" clId="{C5475F96-8488-48C6-A1F0-031C03FB8E85}" dt="2025-06-18T14:05:58.410" v="153"/>
        <pc:sldMkLst>
          <pc:docMk/>
          <pc:sldMk cId="691363907" sldId="273"/>
        </pc:sldMkLst>
      </pc:sldChg>
      <pc:sldChg chg="add del ord modNotesTx">
        <pc:chgData name="Efe Abugo" userId="6f9643a4-064e-43fe-88b1-4f223db45fc5" providerId="ADAL" clId="{C5475F96-8488-48C6-A1F0-031C03FB8E85}" dt="2025-06-18T16:38:42.037" v="1597" actId="20577"/>
        <pc:sldMkLst>
          <pc:docMk/>
          <pc:sldMk cId="1381088021" sldId="275"/>
        </pc:sldMkLst>
      </pc:sldChg>
      <pc:sldChg chg="addSp delSp modSp add del mod ord delAnim modAnim modNotesTx">
        <pc:chgData name="Efe Abugo" userId="6f9643a4-064e-43fe-88b1-4f223db45fc5" providerId="ADAL" clId="{C5475F96-8488-48C6-A1F0-031C03FB8E85}" dt="2025-06-18T18:04:06.986" v="1780" actId="20577"/>
        <pc:sldMkLst>
          <pc:docMk/>
          <pc:sldMk cId="2323880650" sldId="277"/>
        </pc:sldMkLst>
        <pc:spChg chg="mod">
          <ac:chgData name="Efe Abugo" userId="6f9643a4-064e-43fe-88b1-4f223db45fc5" providerId="ADAL" clId="{C5475F96-8488-48C6-A1F0-031C03FB8E85}" dt="2025-06-18T14:07:23.072" v="220" actId="20577"/>
          <ac:spMkLst>
            <pc:docMk/>
            <pc:sldMk cId="2323880650" sldId="277"/>
            <ac:spMk id="2" creationId="{9657A785-6078-89D5-B3BE-F3D80CCDCF1F}"/>
          </ac:spMkLst>
        </pc:spChg>
        <pc:spChg chg="add del mod">
          <ac:chgData name="Efe Abugo" userId="6f9643a4-064e-43fe-88b1-4f223db45fc5" providerId="ADAL" clId="{C5475F96-8488-48C6-A1F0-031C03FB8E85}" dt="2025-06-18T14:07:26.532" v="221" actId="478"/>
          <ac:spMkLst>
            <pc:docMk/>
            <pc:sldMk cId="2323880650" sldId="277"/>
            <ac:spMk id="3" creationId="{1E8D6BB4-5089-16EB-55F1-2CE18FE9DC1E}"/>
          </ac:spMkLst>
        </pc:spChg>
        <pc:spChg chg="mod ord">
          <ac:chgData name="Efe Abugo" userId="6f9643a4-064e-43fe-88b1-4f223db45fc5" providerId="ADAL" clId="{C5475F96-8488-48C6-A1F0-031C03FB8E85}" dt="2025-06-18T14:21:07.629" v="555" actId="20577"/>
          <ac:spMkLst>
            <pc:docMk/>
            <pc:sldMk cId="2323880650" sldId="277"/>
            <ac:spMk id="4" creationId="{E2F30FE1-AF85-3A94-3DB0-80A08C593C1E}"/>
          </ac:spMkLst>
        </pc:spChg>
        <pc:spChg chg="del mod">
          <ac:chgData name="Efe Abugo" userId="6f9643a4-064e-43fe-88b1-4f223db45fc5" providerId="ADAL" clId="{C5475F96-8488-48C6-A1F0-031C03FB8E85}" dt="2025-06-18T14:06:29.112" v="173" actId="478"/>
          <ac:spMkLst>
            <pc:docMk/>
            <pc:sldMk cId="2323880650" sldId="277"/>
            <ac:spMk id="5" creationId="{C74CE2EA-263E-24D6-8484-F536EB964C71}"/>
          </ac:spMkLst>
        </pc:spChg>
        <pc:spChg chg="del mod">
          <ac:chgData name="Efe Abugo" userId="6f9643a4-064e-43fe-88b1-4f223db45fc5" providerId="ADAL" clId="{C5475F96-8488-48C6-A1F0-031C03FB8E85}" dt="2025-06-18T14:06:29.112" v="173" actId="478"/>
          <ac:spMkLst>
            <pc:docMk/>
            <pc:sldMk cId="2323880650" sldId="277"/>
            <ac:spMk id="6" creationId="{C69A90A4-28D1-F153-8924-DA33ED1484C2}"/>
          </ac:spMkLst>
        </pc:spChg>
        <pc:spChg chg="add mod">
          <ac:chgData name="Efe Abugo" userId="6f9643a4-064e-43fe-88b1-4f223db45fc5" providerId="ADAL" clId="{C5475F96-8488-48C6-A1F0-031C03FB8E85}" dt="2025-06-18T14:15:07.139" v="494" actId="1035"/>
          <ac:spMkLst>
            <pc:docMk/>
            <pc:sldMk cId="2323880650" sldId="277"/>
            <ac:spMk id="7" creationId="{9380FF3A-6B0E-044A-E150-9AE2256B8EAA}"/>
          </ac:spMkLst>
        </pc:spChg>
        <pc:spChg chg="add mod">
          <ac:chgData name="Efe Abugo" userId="6f9643a4-064e-43fe-88b1-4f223db45fc5" providerId="ADAL" clId="{C5475F96-8488-48C6-A1F0-031C03FB8E85}" dt="2025-06-18T14:15:07.139" v="494" actId="1035"/>
          <ac:spMkLst>
            <pc:docMk/>
            <pc:sldMk cId="2323880650" sldId="277"/>
            <ac:spMk id="8" creationId="{2529941C-790F-2102-F48F-682607FFFD76}"/>
          </ac:spMkLst>
        </pc:spChg>
        <pc:spChg chg="add mod">
          <ac:chgData name="Efe Abugo" userId="6f9643a4-064e-43fe-88b1-4f223db45fc5" providerId="ADAL" clId="{C5475F96-8488-48C6-A1F0-031C03FB8E85}" dt="2025-06-18T14:15:07.139" v="494" actId="1035"/>
          <ac:spMkLst>
            <pc:docMk/>
            <pc:sldMk cId="2323880650" sldId="277"/>
            <ac:spMk id="9" creationId="{CB439039-7A24-65DC-A5E2-4CC68FEFF2B4}"/>
          </ac:spMkLst>
        </pc:spChg>
        <pc:spChg chg="add mod">
          <ac:chgData name="Efe Abugo" userId="6f9643a4-064e-43fe-88b1-4f223db45fc5" providerId="ADAL" clId="{C5475F96-8488-48C6-A1F0-031C03FB8E85}" dt="2025-06-18T14:15:07.139" v="494" actId="1035"/>
          <ac:spMkLst>
            <pc:docMk/>
            <pc:sldMk cId="2323880650" sldId="277"/>
            <ac:spMk id="10" creationId="{ACACBB39-154A-45BB-3276-68EA02AEE53B}"/>
          </ac:spMkLst>
        </pc:spChg>
        <pc:spChg chg="add mod">
          <ac:chgData name="Efe Abugo" userId="6f9643a4-064e-43fe-88b1-4f223db45fc5" providerId="ADAL" clId="{C5475F96-8488-48C6-A1F0-031C03FB8E85}" dt="2025-06-18T14:15:07.139" v="494" actId="1035"/>
          <ac:spMkLst>
            <pc:docMk/>
            <pc:sldMk cId="2323880650" sldId="277"/>
            <ac:spMk id="11" creationId="{1C548523-08E7-6B0E-EDA8-A7D33EB44BDD}"/>
          </ac:spMkLst>
        </pc:spChg>
        <pc:spChg chg="add mod">
          <ac:chgData name="Efe Abugo" userId="6f9643a4-064e-43fe-88b1-4f223db45fc5" providerId="ADAL" clId="{C5475F96-8488-48C6-A1F0-031C03FB8E85}" dt="2025-06-18T14:08:38.365" v="236"/>
          <ac:spMkLst>
            <pc:docMk/>
            <pc:sldMk cId="2323880650" sldId="277"/>
            <ac:spMk id="12" creationId="{962269E2-F5A1-D90A-77C3-2E2E48DC208F}"/>
          </ac:spMkLst>
        </pc:spChg>
        <pc:spChg chg="del mod topLvl">
          <ac:chgData name="Efe Abugo" userId="6f9643a4-064e-43fe-88b1-4f223db45fc5" providerId="ADAL" clId="{C5475F96-8488-48C6-A1F0-031C03FB8E85}" dt="2025-06-18T14:07:45.045" v="223" actId="478"/>
          <ac:spMkLst>
            <pc:docMk/>
            <pc:sldMk cId="2323880650" sldId="277"/>
            <ac:spMk id="15" creationId="{3DE8ED4A-2E4C-D3C9-997C-A6E4A03157DC}"/>
          </ac:spMkLst>
        </pc:spChg>
        <pc:spChg chg="del">
          <ac:chgData name="Efe Abugo" userId="6f9643a4-064e-43fe-88b1-4f223db45fc5" providerId="ADAL" clId="{C5475F96-8488-48C6-A1F0-031C03FB8E85}" dt="2025-06-18T14:06:32.167" v="174" actId="478"/>
          <ac:spMkLst>
            <pc:docMk/>
            <pc:sldMk cId="2323880650" sldId="277"/>
            <ac:spMk id="16" creationId="{73CDAFD8-17CD-3696-9126-54938221E792}"/>
          </ac:spMkLst>
        </pc:spChg>
        <pc:spChg chg="del">
          <ac:chgData name="Efe Abugo" userId="6f9643a4-064e-43fe-88b1-4f223db45fc5" providerId="ADAL" clId="{C5475F96-8488-48C6-A1F0-031C03FB8E85}" dt="2025-06-18T14:06:29.112" v="173" actId="478"/>
          <ac:spMkLst>
            <pc:docMk/>
            <pc:sldMk cId="2323880650" sldId="277"/>
            <ac:spMk id="19" creationId="{940EB04F-0008-EA12-9662-789C7A14A53B}"/>
          </ac:spMkLst>
        </pc:spChg>
        <pc:spChg chg="add mod">
          <ac:chgData name="Efe Abugo" userId="6f9643a4-064e-43fe-88b1-4f223db45fc5" providerId="ADAL" clId="{C5475F96-8488-48C6-A1F0-031C03FB8E85}" dt="2025-06-18T14:21:17.534" v="590" actId="20577"/>
          <ac:spMkLst>
            <pc:docMk/>
            <pc:sldMk cId="2323880650" sldId="277"/>
            <ac:spMk id="20" creationId="{36265315-FED4-FA50-3995-3E2E2D498568}"/>
          </ac:spMkLst>
        </pc:spChg>
        <pc:spChg chg="add mod">
          <ac:chgData name="Efe Abugo" userId="6f9643a4-064e-43fe-88b1-4f223db45fc5" providerId="ADAL" clId="{C5475F96-8488-48C6-A1F0-031C03FB8E85}" dt="2025-06-18T14:21:26.818" v="629" actId="20577"/>
          <ac:spMkLst>
            <pc:docMk/>
            <pc:sldMk cId="2323880650" sldId="277"/>
            <ac:spMk id="21" creationId="{79ED49A3-18EA-4E2C-0F22-3B27A5AB76E8}"/>
          </ac:spMkLst>
        </pc:spChg>
        <pc:spChg chg="add mod">
          <ac:chgData name="Efe Abugo" userId="6f9643a4-064e-43fe-88b1-4f223db45fc5" providerId="ADAL" clId="{C5475F96-8488-48C6-A1F0-031C03FB8E85}" dt="2025-06-18T14:21:36.751" v="667" actId="20577"/>
          <ac:spMkLst>
            <pc:docMk/>
            <pc:sldMk cId="2323880650" sldId="277"/>
            <ac:spMk id="22" creationId="{599448EE-C185-D37A-F5A9-6EC7BE4DC6DE}"/>
          </ac:spMkLst>
        </pc:spChg>
        <pc:spChg chg="add mod">
          <ac:chgData name="Efe Abugo" userId="6f9643a4-064e-43fe-88b1-4f223db45fc5" providerId="ADAL" clId="{C5475F96-8488-48C6-A1F0-031C03FB8E85}" dt="2025-06-18T14:21:44.594" v="696" actId="20577"/>
          <ac:spMkLst>
            <pc:docMk/>
            <pc:sldMk cId="2323880650" sldId="277"/>
            <ac:spMk id="23" creationId="{0085165B-3401-3651-66D4-EBCAF17046AA}"/>
          </ac:spMkLst>
        </pc:spChg>
        <pc:grpChg chg="del">
          <ac:chgData name="Efe Abugo" userId="6f9643a4-064e-43fe-88b1-4f223db45fc5" providerId="ADAL" clId="{C5475F96-8488-48C6-A1F0-031C03FB8E85}" dt="2025-06-18T14:07:45.045" v="223" actId="478"/>
          <ac:grpSpMkLst>
            <pc:docMk/>
            <pc:sldMk cId="2323880650" sldId="277"/>
            <ac:grpSpMk id="13" creationId="{6AE77E2E-96B5-F715-1182-ED23EAAF4057}"/>
          </ac:grpSpMkLst>
        </pc:grpChg>
        <pc:grpChg chg="topLvl">
          <ac:chgData name="Efe Abugo" userId="6f9643a4-064e-43fe-88b1-4f223db45fc5" providerId="ADAL" clId="{C5475F96-8488-48C6-A1F0-031C03FB8E85}" dt="2025-06-18T14:07:45.045" v="223" actId="478"/>
          <ac:grpSpMkLst>
            <pc:docMk/>
            <pc:sldMk cId="2323880650" sldId="277"/>
            <ac:grpSpMk id="14" creationId="{7FCACE9F-2EDD-C76A-130D-C2FFED68F73D}"/>
          </ac:grpSpMkLst>
        </pc:grpChg>
      </pc:sldChg>
      <pc:sldChg chg="modSp add mod modNotesTx">
        <pc:chgData name="Efe Abugo" userId="6f9643a4-064e-43fe-88b1-4f223db45fc5" providerId="ADAL" clId="{C5475F96-8488-48C6-A1F0-031C03FB8E85}" dt="2025-06-18T18:57:57.173" v="2257" actId="20577"/>
        <pc:sldMkLst>
          <pc:docMk/>
          <pc:sldMk cId="3134585593" sldId="307"/>
        </pc:sldMkLst>
        <pc:spChg chg="mod">
          <ac:chgData name="Efe Abugo" userId="6f9643a4-064e-43fe-88b1-4f223db45fc5" providerId="ADAL" clId="{C5475F96-8488-48C6-A1F0-031C03FB8E85}" dt="2025-06-18T14:05:06.908" v="150" actId="20577"/>
          <ac:spMkLst>
            <pc:docMk/>
            <pc:sldMk cId="3134585593" sldId="307"/>
            <ac:spMk id="2" creationId="{0B114C35-F873-DDAD-61FD-D6DD5DD89208}"/>
          </ac:spMkLst>
        </pc:spChg>
        <pc:spChg chg="mod">
          <ac:chgData name="Efe Abugo" userId="6f9643a4-064e-43fe-88b1-4f223db45fc5" providerId="ADAL" clId="{C5475F96-8488-48C6-A1F0-031C03FB8E85}" dt="2025-06-18T14:02:46.703" v="108"/>
          <ac:spMkLst>
            <pc:docMk/>
            <pc:sldMk cId="3134585593" sldId="307"/>
            <ac:spMk id="51" creationId="{05CB8C4B-8FFD-6367-D65E-80BAD791F670}"/>
          </ac:spMkLst>
        </pc:spChg>
        <pc:spChg chg="mod">
          <ac:chgData name="Efe Abugo" userId="6f9643a4-064e-43fe-88b1-4f223db45fc5" providerId="ADAL" clId="{C5475F96-8488-48C6-A1F0-031C03FB8E85}" dt="2025-06-18T14:03:43.162" v="126" actId="20577"/>
          <ac:spMkLst>
            <pc:docMk/>
            <pc:sldMk cId="3134585593" sldId="307"/>
            <ac:spMk id="52" creationId="{7A23122B-A978-6697-EAB8-4329B1CC5A4A}"/>
          </ac:spMkLst>
        </pc:spChg>
        <pc:spChg chg="mod">
          <ac:chgData name="Efe Abugo" userId="6f9643a4-064e-43fe-88b1-4f223db45fc5" providerId="ADAL" clId="{C5475F96-8488-48C6-A1F0-031C03FB8E85}" dt="2025-06-18T14:04:01.478" v="127"/>
          <ac:spMkLst>
            <pc:docMk/>
            <pc:sldMk cId="3134585593" sldId="307"/>
            <ac:spMk id="53" creationId="{DBDF0822-3E00-5A7C-460D-8B13750C3216}"/>
          </ac:spMkLst>
        </pc:spChg>
        <pc:spChg chg="mod">
          <ac:chgData name="Efe Abugo" userId="6f9643a4-064e-43fe-88b1-4f223db45fc5" providerId="ADAL" clId="{C5475F96-8488-48C6-A1F0-031C03FB8E85}" dt="2025-06-18T14:30:48.450" v="1001" actId="20577"/>
          <ac:spMkLst>
            <pc:docMk/>
            <pc:sldMk cId="3134585593" sldId="307"/>
            <ac:spMk id="54" creationId="{0040C5F9-B040-9D57-6015-29ADFCFFBA31}"/>
          </ac:spMkLst>
        </pc:spChg>
        <pc:spChg chg="mod">
          <ac:chgData name="Efe Abugo" userId="6f9643a4-064e-43fe-88b1-4f223db45fc5" providerId="ADAL" clId="{C5475F96-8488-48C6-A1F0-031C03FB8E85}" dt="2025-06-18T14:30:42.978" v="988" actId="20577"/>
          <ac:spMkLst>
            <pc:docMk/>
            <pc:sldMk cId="3134585593" sldId="307"/>
            <ac:spMk id="55" creationId="{6764596E-5E69-29F8-6073-86AC05CC5E97}"/>
          </ac:spMkLst>
        </pc:spChg>
      </pc:sldChg>
      <pc:sldChg chg="ord">
        <pc:chgData name="Efe Abugo" userId="6f9643a4-064e-43fe-88b1-4f223db45fc5" providerId="ADAL" clId="{C5475F96-8488-48C6-A1F0-031C03FB8E85}" dt="2025-06-17T21:59:41.337" v="75"/>
        <pc:sldMkLst>
          <pc:docMk/>
          <pc:sldMk cId="3097118436" sldId="2147482070"/>
        </pc:sldMkLst>
      </pc:sldChg>
      <pc:sldChg chg="modSp add del mod">
        <pc:chgData name="Efe Abugo" userId="6f9643a4-064e-43fe-88b1-4f223db45fc5" providerId="ADAL" clId="{C5475F96-8488-48C6-A1F0-031C03FB8E85}" dt="2025-06-17T22:00:21.843" v="78" actId="47"/>
        <pc:sldMkLst>
          <pc:docMk/>
          <pc:sldMk cId="984310700" sldId="2147482071"/>
        </pc:sldMkLst>
        <pc:spChg chg="mod">
          <ac:chgData name="Efe Abugo" userId="6f9643a4-064e-43fe-88b1-4f223db45fc5" providerId="ADAL" clId="{C5475F96-8488-48C6-A1F0-031C03FB8E85}" dt="2025-06-17T21:56:04.301" v="4"/>
          <ac:spMkLst>
            <pc:docMk/>
            <pc:sldMk cId="984310700" sldId="2147482071"/>
            <ac:spMk id="10" creationId="{AE2A67DE-D411-2E3E-25CA-F03F40165DED}"/>
          </ac:spMkLst>
        </pc:spChg>
      </pc:sldChg>
      <pc:sldChg chg="modSp add del mod ord">
        <pc:chgData name="Efe Abugo" userId="6f9643a4-064e-43fe-88b1-4f223db45fc5" providerId="ADAL" clId="{C5475F96-8488-48C6-A1F0-031C03FB8E85}" dt="2025-06-18T14:05:11.636" v="151" actId="47"/>
        <pc:sldMkLst>
          <pc:docMk/>
          <pc:sldMk cId="92775483" sldId="2147482072"/>
        </pc:sldMkLst>
        <pc:spChg chg="mod">
          <ac:chgData name="Efe Abugo" userId="6f9643a4-064e-43fe-88b1-4f223db45fc5" providerId="ADAL" clId="{C5475F96-8488-48C6-A1F0-031C03FB8E85}" dt="2025-06-17T22:00:34.194" v="106" actId="20577"/>
          <ac:spMkLst>
            <pc:docMk/>
            <pc:sldMk cId="92775483" sldId="2147482072"/>
            <ac:spMk id="2" creationId="{3E01C03B-52F0-DE4E-F547-BC048540A406}"/>
          </ac:spMkLst>
        </pc:spChg>
      </pc:sldChg>
      <pc:sldChg chg="delSp add del setBg delDesignElem">
        <pc:chgData name="Efe Abugo" userId="6f9643a4-064e-43fe-88b1-4f223db45fc5" providerId="ADAL" clId="{C5475F96-8488-48C6-A1F0-031C03FB8E85}" dt="2025-06-18T14:27:52.951" v="744" actId="47"/>
        <pc:sldMkLst>
          <pc:docMk/>
          <pc:sldMk cId="256085959" sldId="2147482464"/>
        </pc:sldMkLst>
        <pc:spChg chg="del">
          <ac:chgData name="Efe Abugo" userId="6f9643a4-064e-43fe-88b1-4f223db45fc5" providerId="ADAL" clId="{C5475F96-8488-48C6-A1F0-031C03FB8E85}" dt="2025-06-18T14:26:11.188" v="698"/>
          <ac:spMkLst>
            <pc:docMk/>
            <pc:sldMk cId="256085959" sldId="2147482464"/>
            <ac:spMk id="4" creationId="{66B332A4-D438-4773-A77F-5ED49A448D9D}"/>
          </ac:spMkLst>
        </pc:spChg>
        <pc:spChg chg="del">
          <ac:chgData name="Efe Abugo" userId="6f9643a4-064e-43fe-88b1-4f223db45fc5" providerId="ADAL" clId="{C5475F96-8488-48C6-A1F0-031C03FB8E85}" dt="2025-06-18T14:26:11.188" v="698"/>
          <ac:spMkLst>
            <pc:docMk/>
            <pc:sldMk cId="256085959" sldId="2147482464"/>
            <ac:spMk id="5" creationId="{DF9AD32D-FF05-44F4-BD4D-9CEE89B71EB9}"/>
          </ac:spMkLst>
        </pc:spChg>
      </pc:sldChg>
      <pc:sldChg chg="addSp delSp modSp add del mod">
        <pc:chgData name="Efe Abugo" userId="6f9643a4-064e-43fe-88b1-4f223db45fc5" providerId="ADAL" clId="{C5475F96-8488-48C6-A1F0-031C03FB8E85}" dt="2025-06-18T14:27:08.445" v="708" actId="47"/>
        <pc:sldMkLst>
          <pc:docMk/>
          <pc:sldMk cId="3303572150" sldId="2147482465"/>
        </pc:sldMkLst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2" creationId="{A926A0F6-69BE-EC0E-DB28-96070E87283A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4" creationId="{923FB0C8-3B59-540D-F097-2A33D02DFFFF}"/>
          </ac:spMkLst>
        </pc:spChg>
        <pc:spChg chg="add del mod">
          <ac:chgData name="Efe Abugo" userId="6f9643a4-064e-43fe-88b1-4f223db45fc5" providerId="ADAL" clId="{C5475F96-8488-48C6-A1F0-031C03FB8E85}" dt="2025-06-18T14:26:40.977" v="704" actId="478"/>
          <ac:spMkLst>
            <pc:docMk/>
            <pc:sldMk cId="3303572150" sldId="2147482465"/>
            <ac:spMk id="5" creationId="{A1122F02-B77D-FBCC-DD17-840CE4F9477E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8" creationId="{1D6F2B04-17C2-D7B3-1F0C-A454C8AEBB43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10" creationId="{54EFC176-D953-F6DC-D31A-D67CEC2E4BA3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11" creationId="{BC953DD3-C4C4-9B35-C320-76453050D7A7}"/>
          </ac:spMkLst>
        </pc:spChg>
        <pc:spChg chg="add del mod">
          <ac:chgData name="Efe Abugo" userId="6f9643a4-064e-43fe-88b1-4f223db45fc5" providerId="ADAL" clId="{C5475F96-8488-48C6-A1F0-031C03FB8E85}" dt="2025-06-18T14:26:49.827" v="706" actId="478"/>
          <ac:spMkLst>
            <pc:docMk/>
            <pc:sldMk cId="3303572150" sldId="2147482465"/>
            <ac:spMk id="12" creationId="{525F6F3C-349F-6C99-CD2E-21257B0D7837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15" creationId="{A42343EC-6B77-974E-24DE-E1D2697FDFFE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16" creationId="{CDF4FED6-AB7C-D912-074D-366A28A10874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20" creationId="{A4A8E53F-F816-F691-5416-8A04393C16E0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21" creationId="{004BEB2D-1E6B-FB2F-DE82-87147258D3CA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22" creationId="{59ECAD96-2DC6-3733-44AE-8922C5EA5E6F}"/>
          </ac:spMkLst>
        </pc:spChg>
        <pc:spChg chg="add del">
          <ac:chgData name="Efe Abugo" userId="6f9643a4-064e-43fe-88b1-4f223db45fc5" providerId="ADAL" clId="{C5475F96-8488-48C6-A1F0-031C03FB8E85}" dt="2025-06-18T14:26:43.458" v="705" actId="478"/>
          <ac:spMkLst>
            <pc:docMk/>
            <pc:sldMk cId="3303572150" sldId="2147482465"/>
            <ac:spMk id="23" creationId="{EACC248D-6C8C-659C-C557-50201F93A2FD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24" creationId="{5CDC5FB7-CACA-E576-5CA5-DD456DD0B0CC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25" creationId="{35784651-DF73-8D1A-6275-F8CBA13E1ECC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26" creationId="{F50624F7-572B-72FE-E919-5F97054DBEDB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27" creationId="{CD5ED561-E27F-40C2-90BB-021601463311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30" creationId="{3D44A717-838B-E290-1A00-0B312BBE7693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36" creationId="{D98E6DC2-0CD9-205B-8E2E-30A6CDA10FB0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37" creationId="{D45A7349-3612-2651-9802-3C9E1B110E68}"/>
          </ac:spMkLst>
        </pc:spChg>
        <pc:spChg chg="add mod">
          <ac:chgData name="Efe Abugo" userId="6f9643a4-064e-43fe-88b1-4f223db45fc5" providerId="ADAL" clId="{C5475F96-8488-48C6-A1F0-031C03FB8E85}" dt="2025-06-18T14:26:55.005" v="707"/>
          <ac:spMkLst>
            <pc:docMk/>
            <pc:sldMk cId="3303572150" sldId="2147482465"/>
            <ac:spMk id="38" creationId="{46953E9D-8EAD-D052-089A-F3CEA47FF5DB}"/>
          </ac:spMkLst>
        </pc:spChg>
      </pc:sldChg>
      <pc:sldChg chg="addSp delSp modSp add mod ord modNotesTx">
        <pc:chgData name="Efe Abugo" userId="6f9643a4-064e-43fe-88b1-4f223db45fc5" providerId="ADAL" clId="{C5475F96-8488-48C6-A1F0-031C03FB8E85}" dt="2025-06-18T18:05:24.129" v="2186" actId="20577"/>
        <pc:sldMkLst>
          <pc:docMk/>
          <pc:sldMk cId="2304364142" sldId="2147482466"/>
        </pc:sldMkLst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2" creationId="{8C5EDEDE-6CCA-38D4-2EC6-8E2759080B10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4" creationId="{06E0BE45-6ADD-2B52-87DA-1023FC5B8983}"/>
          </ac:spMkLst>
        </pc:spChg>
        <pc:spChg chg="del">
          <ac:chgData name="Efe Abugo" userId="6f9643a4-064e-43fe-88b1-4f223db45fc5" providerId="ADAL" clId="{C5475F96-8488-48C6-A1F0-031C03FB8E85}" dt="2025-06-18T14:27:16.596" v="710" actId="478"/>
          <ac:spMkLst>
            <pc:docMk/>
            <pc:sldMk cId="2304364142" sldId="2147482466"/>
            <ac:spMk id="5" creationId="{87918FAF-F164-0660-FE10-39E5587C1C6D}"/>
          </ac:spMkLst>
        </pc:spChg>
        <pc:spChg chg="add del mod">
          <ac:chgData name="Efe Abugo" userId="6f9643a4-064e-43fe-88b1-4f223db45fc5" providerId="ADAL" clId="{C5475F96-8488-48C6-A1F0-031C03FB8E85}" dt="2025-06-18T14:27:32.076" v="712" actId="478"/>
          <ac:spMkLst>
            <pc:docMk/>
            <pc:sldMk cId="2304364142" sldId="2147482466"/>
            <ac:spMk id="6" creationId="{0AA58786-CBD5-EDD8-1357-9A07D43D6FB9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7" creationId="{72AE81CD-B59B-9CD6-217B-221E4E89E957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8" creationId="{15EA78FF-B2E9-3051-E60D-3A7E751A933D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9" creationId="{54D53DAE-1C2D-7B51-5198-F2874C893375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10" creationId="{602DA870-6DEB-E98C-89EA-9EF375C55A9C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11" creationId="{51C3D23A-F5C5-837D-5714-71C926F81CC1}"/>
          </ac:spMkLst>
        </pc:spChg>
        <pc:spChg chg="add mod">
          <ac:chgData name="Efe Abugo" userId="6f9643a4-064e-43fe-88b1-4f223db45fc5" providerId="ADAL" clId="{C5475F96-8488-48C6-A1F0-031C03FB8E85}" dt="2025-06-18T14:27:43.897" v="741" actId="1076"/>
          <ac:spMkLst>
            <pc:docMk/>
            <pc:sldMk cId="2304364142" sldId="2147482466"/>
            <ac:spMk id="13" creationId="{626060EE-9F82-2BD6-B9F3-D52946987AD7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20" creationId="{3C2AA3B4-2799-439C-8631-332791BE7CBA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22" creationId="{64F4064C-8CC6-671B-FB03-86E7F97CEECC}"/>
          </ac:spMkLst>
        </pc:spChg>
        <pc:spChg chg="del">
          <ac:chgData name="Efe Abugo" userId="6f9643a4-064e-43fe-88b1-4f223db45fc5" providerId="ADAL" clId="{C5475F96-8488-48C6-A1F0-031C03FB8E85}" dt="2025-06-18T14:27:14.508" v="709" actId="478"/>
          <ac:spMkLst>
            <pc:docMk/>
            <pc:sldMk cId="2304364142" sldId="2147482466"/>
            <ac:spMk id="23" creationId="{78632A2E-31C5-C8D6-AD04-7CB16E387061}"/>
          </ac:spMkLst>
        </pc:spChg>
        <pc:picChg chg="add mod">
          <ac:chgData name="Efe Abugo" userId="6f9643a4-064e-43fe-88b1-4f223db45fc5" providerId="ADAL" clId="{C5475F96-8488-48C6-A1F0-031C03FB8E85}" dt="2025-06-18T14:27:48.517" v="743" actId="1076"/>
          <ac:picMkLst>
            <pc:docMk/>
            <pc:sldMk cId="2304364142" sldId="2147482466"/>
            <ac:picMk id="12" creationId="{CD11AB25-EAC6-3882-39A6-2DD5D9119ED7}"/>
          </ac:picMkLst>
        </pc:picChg>
      </pc:sldChg>
      <pc:sldMasterChg chg="delSldLayout">
        <pc:chgData name="Efe Abugo" userId="6f9643a4-064e-43fe-88b1-4f223db45fc5" providerId="ADAL" clId="{C5475F96-8488-48C6-A1F0-031C03FB8E85}" dt="2025-06-18T14:27:52.951" v="744" actId="47"/>
        <pc:sldMasterMkLst>
          <pc:docMk/>
          <pc:sldMasterMk cId="4266815346" sldId="2147483677"/>
        </pc:sldMasterMkLst>
        <pc:sldLayoutChg chg="del">
          <pc:chgData name="Efe Abugo" userId="6f9643a4-064e-43fe-88b1-4f223db45fc5" providerId="ADAL" clId="{C5475F96-8488-48C6-A1F0-031C03FB8E85}" dt="2025-06-18T14:27:52.951" v="744" actId="47"/>
          <pc:sldLayoutMkLst>
            <pc:docMk/>
            <pc:sldMasterMk cId="4266815346" sldId="2147483677"/>
            <pc:sldLayoutMk cId="1826834257" sldId="214748375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D8C3E-6DC5-4FC1-8A36-B21B80821516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D3CB5C-C8BC-4CC6-964F-C3CCE107D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450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D3CB5C-C8BC-4CC6-964F-C3CCE107DE5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7528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AD4F0-64A5-035A-276E-5B301DF778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B5DC91-3686-4DF9-99D0-BE27FC035D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25E0D4-DA84-5F34-8D1F-22DCEEB2B5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B6F3C0-0A78-2CA7-0721-EED54F5F33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C129A-8B4F-4082-A05D-FA417D51BD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1985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BA353-E6D4-4D02-8626-A6FF534C73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533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96D987-22F2-B929-5DFB-267366688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99BE9C-3B4A-4F12-B30F-850F13CE1B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2BFB19-2981-D015-EFEA-D18D5C22B3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A7BCC1-578A-C926-1B1A-4D623C71CA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BA353-E6D4-4D02-8626-A6FF534C73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4676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0AD494-3877-CB66-651D-246ED16DF5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05EE1A0-9360-2DC8-4693-7590D80FCB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F6A59FD-BA91-925A-80BA-6906BE3C47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B8C260-18FB-5214-0EFE-34FA268149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DBA25-EEB1-46C0-8126-D5B74A701F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075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C129A-8B4F-4082-A05D-FA417D51BD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9962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C129A-8B4F-4082-A05D-FA417D51BD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86893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D3CB5C-C8BC-4CC6-964F-C3CCE107DE5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0579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216D31-8DE9-CF1B-5D1D-66010BE3A8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A014F06-85DD-0880-3821-847D8C5684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887CACC-EC18-842E-F695-AA946DCEDC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4043FC-2897-C4BD-352E-3DAB28087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C129A-8B4F-4082-A05D-FA417D51BD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310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png"/><Relationship Id="rId5" Type="http://schemas.openxmlformats.org/officeDocument/2006/relationships/image" Target="../media/image14.jpeg"/><Relationship Id="rId4" Type="http://schemas.microsoft.com/office/2007/relationships/hdphoto" Target="../media/hdphoto1.wdp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0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image" Target="../media/image56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3.xml"/><Relationship Id="rId4" Type="http://schemas.microsoft.com/office/2007/relationships/hdphoto" Target="../media/hdphoto2.wdp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6.sv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1.svg"/><Relationship Id="rId4" Type="http://schemas.openxmlformats.org/officeDocument/2006/relationships/image" Target="../media/image80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sv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08FE1C-FB02-FDFE-3B8B-DB6C29D74E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575C28-7814-7360-9B2C-A814F32847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88DF5-BA5A-B952-BF3E-102FD1874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1F6FC6-9233-3817-EA1E-38B286F6B8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F30AA6-3E79-C61B-0F78-EB634B84D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97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6FD01-0A1C-FA8B-9055-0C5040E98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8E0E94-AB0A-274F-B479-12814376AB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B1065F-C20C-2DE7-8984-DDC725602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2A2D4F-F80D-950A-A035-24416C58AA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5F7CB5-56B1-58CD-4780-E85D74182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2402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01807-A01F-7A47-BFA2-2E7AC8AAB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694D91-35B0-C3B9-5DF9-0C3EB8787E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7653BF-D0E2-A0AF-4CE4-D45FE589A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2FA651-C015-5F00-30EE-824D2102F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663D2-96AB-4D67-A758-A4133BC145A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DABDC3-4792-08E9-FD25-4141050F8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6E73E0-FD66-0C32-6575-A446B18FE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5BD5-DE12-4756-912C-604E0D4DA6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6793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BB50C7D-EF10-99F5-4DF8-5C8036F614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9E1D0B-053B-DD62-338E-1D8CBC44A7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EE301-82CF-13AB-4FB3-5D755D228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9B0451-463D-B5DF-DDF6-6D2B4B662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70255E-A406-97FF-2CC1-84628111B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029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7852A-A827-27D0-6365-0001AA7495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544123-9A28-0B64-C588-A37CCB7FD8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982DEC-458D-DF85-97C8-70D97253A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FD8196-5322-2E1C-CE02-9AE750646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61C11-2057-CD72-B734-1BE51E8BB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2285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EC4FE-D880-0F16-967B-9B6C8A672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DE648-FB93-AA44-6DB1-ACA999BA51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3A57F3-0197-42A4-B7D3-C129C1049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3A28E3-1BE5-57E4-E4A8-EFA11C3FC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1BF7F-337C-643D-677B-8F79F1BDD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5756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F6EF26-6EBE-A16F-AC94-F6908018C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DE890B-C372-A7C0-0A7E-E40334667E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FF922C-566B-AC9F-3598-3BC1A0629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85694-5C93-891B-D5FB-286B70B818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66C47-AA9C-11D8-860A-D86EF4379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373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8E56B4-73FA-AB01-B725-6B237A596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1A3BD0-BEE9-031E-A027-93CF4F87C2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5F042F-3AA3-7BA3-318F-E3B1814FB9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06A971-3C5D-ECA7-D83D-A51E1CDDA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A7E7B6-7E06-5C44-4CEA-60AFA04C4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62A41D-E2E7-4392-3F4F-40E41438A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9679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E4B29D-EAE4-58AB-4624-FD2B9CC01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ECD35B-0605-1E98-E108-721DA4617B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1F3035-234A-FAC9-E62E-0B93172735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6E8BBE-DF29-55D7-2644-91D687713C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BFBCFD-F4DA-CE54-0D4D-380697D171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481AAC-C326-7324-24E9-84EE4537E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598819-DFB9-D394-9B6E-4A316AB7C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5AF71C-BAFB-34A4-E443-2A39DA992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34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42BFCE-8AA7-12A3-5B0A-92A2A02F6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21C120-E024-948C-623B-EFA7596F3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1590E0-A500-4E0D-825F-09A356C41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0A4ADC-528B-6396-9130-80E371360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6369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9395E9-A079-0A41-8ED3-54918C6B8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B3DCC-6F10-931E-98B4-A73FA95BF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FA587F-6E1C-DEA6-7693-B2D7DEE36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48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0CB89-2988-1F38-FA4C-30C6C5F52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7FC763-1E95-507D-2DE6-EAFB750787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2F6439-3A1C-3853-E8B5-D3CFCAE9B2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4050AB-D8F0-D9EC-E61F-BE046A38D4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2454F-A108-C6F4-08A1-0F4BA7C3E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169F0F-F972-701E-E677-E5A4596E6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267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A3FA8-1416-B9F9-278E-4AA65A88D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FEAEBF-D30F-B4A4-BFF7-B4576627BE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D9BA5-D2C8-D007-8321-C51DBDA299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636EAA-EE05-015E-36C1-97720F67A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CD10A-148A-B422-0154-E788AB7AA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846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1F002-6B67-9092-48DB-738F8BC4D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44F502-FBCA-372C-591E-ECA833ED69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8B4777-C658-30BA-76E6-FE5B4410F7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96AC269-A0FD-BFF4-E7E1-11CE9BC4B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6DB485-2B59-ED5B-7AE3-CB7FD94AD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4DF51D-C0F4-D9B1-6338-A668A8C59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3935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16F4-2647-E62A-5DF9-F49F1654C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39D19A-A613-58A3-1752-8F696D37F2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4B426D-79BE-9130-84FB-F593BB115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7D260-025B-65C8-FF65-3ABB78FF3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B8F6C-8DEC-6CB9-BCBC-80FB4AC897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41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4A6C4E-2240-A4F9-9469-B91AEA610F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03C385-370C-1430-2DE0-EDC36B7D12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95F54F-D6C0-48E6-A68F-6C6A6A5A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EFDE43-60CC-0B20-DD9D-D16127C7AF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2A05EE-966E-5AA2-85D9-36ED6BC7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9045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3855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346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01967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49272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D88A8B-7381-2287-CF94-E2B0F2018A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595" t="987" r="1059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80905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046" cy="492443"/>
          </a:xfr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kern="1200" cap="none" spc="-50" baseline="0" dirty="0">
                <a:ln w="3175">
                  <a:noFill/>
                </a:ln>
                <a:gradFill>
                  <a:gsLst>
                    <a:gs pos="2874">
                      <a:schemeClr val="accent1"/>
                    </a:gs>
                    <a:gs pos="71000">
                      <a:schemeClr val="accent4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500" y="292100"/>
            <a:ext cx="11052046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39836011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91440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6" name="Picture 15" descr="A logo of a company&#10;&#10;Description automatically generated">
            <a:extLst>
              <a:ext uri="{FF2B5EF4-FFF2-40B4-BE49-F238E27FC236}">
                <a16:creationId xmlns:a16="http://schemas.microsoft.com/office/drawing/2014/main" id="{DD0AF0F7-CB9D-430F-0371-DEAB62BB5B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48" t="32535" r="14401" b="28160"/>
          <a:stretch/>
        </p:blipFill>
        <p:spPr>
          <a:xfrm>
            <a:off x="571500" y="581978"/>
            <a:ext cx="1454782" cy="34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736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080397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080397" cy="276999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8" name="Picture 7" descr="A logo of a company&#10;&#10;Description automatically generated">
            <a:extLst>
              <a:ext uri="{FF2B5EF4-FFF2-40B4-BE49-F238E27FC236}">
                <a16:creationId xmlns:a16="http://schemas.microsoft.com/office/drawing/2014/main" id="{51065696-BF77-547A-924A-9F4AB38AD41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48" t="32535" r="14401" b="28160"/>
          <a:stretch/>
        </p:blipFill>
        <p:spPr>
          <a:xfrm>
            <a:off x="571500" y="581978"/>
            <a:ext cx="1454782" cy="34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181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2C173-6720-B27E-DD8A-4233CB19F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056248-73C9-0089-009B-ACBB6ECAB7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F0E651-AA4B-9444-D52E-0B7B0F30D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5A60F4-755A-2146-0E62-AD255EA24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7EBF7A-DD15-1EB4-7C3F-7D13B2E83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206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55118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55118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1" name="Picture 10" descr="A logo of a company&#10;&#10;Description automatically generated">
            <a:extLst>
              <a:ext uri="{FF2B5EF4-FFF2-40B4-BE49-F238E27FC236}">
                <a16:creationId xmlns:a16="http://schemas.microsoft.com/office/drawing/2014/main" id="{CAE62B93-42FC-5FEC-B67B-BA687583F3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48" t="32535" r="14401" b="28160"/>
          <a:stretch/>
        </p:blipFill>
        <p:spPr>
          <a:xfrm>
            <a:off x="571500" y="581978"/>
            <a:ext cx="1454782" cy="34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11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replaceable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302670"/>
            <a:ext cx="4495800" cy="123110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4000" spc="-50" baseline="0">
                <a:solidFill>
                  <a:schemeClr val="tx1"/>
                </a:solidFill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Event name or </a:t>
            </a:r>
            <a:br>
              <a:rPr lang="en-US"/>
            </a:br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4495800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16" name="Picture 15" descr="A logo of a company&#10;&#10;Description automatically generated">
            <a:extLst>
              <a:ext uri="{FF2B5EF4-FFF2-40B4-BE49-F238E27FC236}">
                <a16:creationId xmlns:a16="http://schemas.microsoft.com/office/drawing/2014/main" id="{DD0AF0F7-CB9D-430F-0371-DEAB62BB5B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48" t="32535" r="14401" b="28160"/>
          <a:stretch/>
        </p:blipFill>
        <p:spPr>
          <a:xfrm>
            <a:off x="571500" y="581978"/>
            <a:ext cx="1454782" cy="343851"/>
          </a:xfrm>
          <a:prstGeom prst="rect">
            <a:avLst/>
          </a:prstGeom>
        </p:spPr>
      </p:pic>
      <p:sp>
        <p:nvSpPr>
          <p:cNvPr id="2" name="Picture Placeholder" descr="Picture placeholder">
            <a:extLst>
              <a:ext uri="{FF2B5EF4-FFF2-40B4-BE49-F238E27FC236}">
                <a16:creationId xmlns:a16="http://schemas.microsoft.com/office/drawing/2014/main" id="{9BD5030A-DADA-E973-A194-2BD6C3CE6D4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tx2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667707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11018838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27CBDD-49E9-BBDF-550B-482E4E570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2458670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1363FF4-6EF0-D2BC-8DFE-19CC89CD92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1834347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4200" y="1435100"/>
            <a:ext cx="5211763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89688" y="1435100"/>
            <a:ext cx="5219700" cy="483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F6A123D-3A27-499F-9210-3E0D7CED39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DC3595B-25C2-CF43-259D-75A3671E70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0883537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60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Sans Display" pitchFamily="2" charset="0"/>
                <a:cs typeface="Segoe Sans Display" pitchFamily="2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Sans Display" pitchFamily="2" charset="0"/>
                <a:cs typeface="Segoe Sans Display" pitchFamily="2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A3D27F9-7D19-8ECF-C50E-71D515E54B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3451391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D525736-DEE8-4391-8135-23DE064005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8E90344-0294-48E2-AAF0-601BB99500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66750" indent="-152400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4F729D4-B1F1-45F2-A06A-40234B19C8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F896FB-325C-4849-B372-8DF0D6C056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7625" y="2084388"/>
            <a:ext cx="5219700" cy="1612749"/>
          </a:xfrm>
        </p:spPr>
        <p:txBody>
          <a:bodyPr>
            <a:spAutoFit/>
          </a:bodyPr>
          <a:lstStyle>
            <a:lvl1pPr marL="171450" indent="-171450">
              <a:defRPr lang="en-US" sz="2400" dirty="0"/>
            </a:lvl1pPr>
            <a:lvl2pPr marL="342900" indent="-171450">
              <a:defRPr lang="en-US" dirty="0"/>
            </a:lvl2pPr>
            <a:lvl3pPr marL="514350" indent="-171450">
              <a:defRPr lang="en-US" dirty="0"/>
            </a:lvl3pPr>
            <a:lvl4pPr marL="685800" indent="-136525">
              <a:defRPr lang="en-US" dirty="0"/>
            </a:lvl4pPr>
            <a:lvl5pPr marL="793750" indent="-120650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C112CDB0-015D-94C2-ECEE-970711F59E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31975426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C2759870-0BEA-44DC-A414-1C70D04E3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FEF95FA-F121-4653-B60A-0D068C3454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8963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327262A-D327-4189-AD22-BAD67CF4AB7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97625" y="1436688"/>
            <a:ext cx="5219700" cy="430887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4">
            <a:extLst>
              <a:ext uri="{FF2B5EF4-FFF2-40B4-BE49-F238E27FC236}">
                <a16:creationId xmlns:a16="http://schemas.microsoft.com/office/drawing/2014/main" id="{47F8EAA9-0E64-4589-A234-BC31685BE7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94451" y="2081212"/>
            <a:ext cx="5214937" cy="41878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FADFBB8-E1C1-D5AB-8154-CBA2D9EFB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51E17F0-59B9-3EAE-0FC7-A1EBDE8F7B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36094381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311">
          <p15:clr>
            <a:srgbClr val="5ACBF0"/>
          </p15:clr>
        </p15:guide>
        <p15:guide id="4" pos="3656">
          <p15:clr>
            <a:srgbClr val="5ACBF0"/>
          </p15:clr>
        </p15:guide>
        <p15:guide id="5" pos="4024">
          <p15:clr>
            <a:srgbClr val="5ACBF0"/>
          </p15:clr>
        </p15:guide>
        <p15:guide id="7" orient="horz" pos="905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CB20F198-3776-433D-85A8-C2B6AC6235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7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7BC59AA-6CF8-4091-8008-21AA9AD8E8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5217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22263" indent="-150813">
              <a:defRPr lang="en-US" sz="1800" dirty="0"/>
            </a:lvl2pPr>
            <a:lvl3pPr marL="466725" indent="-138113">
              <a:defRPr lang="en-US" dirty="0"/>
            </a:lvl3pPr>
            <a:lvl4pPr marL="595313" indent="-128588">
              <a:defRPr lang="en-US" dirty="0"/>
            </a:lvl4pPr>
            <a:lvl5pPr marL="731838" indent="-1222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BECED387-BA3E-49B2-8F1E-0E371E09E0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63796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B26A1CD-81F9-4C2F-896F-E69757C665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63796" y="238413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79263A4B-A9A8-4CE5-96A8-6F6EC365E5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42375" y="1438275"/>
            <a:ext cx="3264408" cy="67710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205743D-F71A-4647-9BE4-2900BDA2582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42375" y="2390775"/>
            <a:ext cx="3264408" cy="1760482"/>
          </a:xfrm>
        </p:spPr>
        <p:txBody>
          <a:bodyPr wrap="square">
            <a:spAutoFit/>
          </a:bodyPr>
          <a:lstStyle>
            <a:lvl1pPr marL="176213" indent="-176213">
              <a:defRPr lang="en-US" sz="2000" dirty="0"/>
            </a:lvl1pPr>
            <a:lvl2pPr marL="398463" indent="-169863">
              <a:defRPr lang="en-US" sz="1800" dirty="0"/>
            </a:lvl2pPr>
            <a:lvl3pPr marL="555625" indent="-157163">
              <a:defRPr lang="en-US" dirty="0"/>
            </a:lvl3pPr>
            <a:lvl4pPr marL="685800" indent="-136525">
              <a:defRPr lang="en-US" dirty="0"/>
            </a:lvl4pPr>
            <a:lvl5pPr marL="800100" indent="-111125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496CCFA2-2D28-1617-4A3E-368924E943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7640697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1506">
          <p15:clr>
            <a:srgbClr val="5ACBF0"/>
          </p15:clr>
        </p15:guide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430">
          <p15:clr>
            <a:srgbClr val="5ACBF0"/>
          </p15:clr>
        </p15:guide>
        <p15:guide id="7" pos="2811">
          <p15:clr>
            <a:srgbClr val="5ACBF0"/>
          </p15:clr>
        </p15:guide>
        <p15:guide id="8" pos="4871">
          <p15:clr>
            <a:srgbClr val="5ACBF0"/>
          </p15:clr>
        </p15:guide>
        <p15:guide id="9" pos="5251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125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3125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4208" y="1438275"/>
            <a:ext cx="2532063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4208" y="228311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3133" y="1438275"/>
            <a:ext cx="2533650" cy="61555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3133" y="2276475"/>
            <a:ext cx="2532063" cy="1698927"/>
          </a:xfrm>
        </p:spPr>
        <p:txBody>
          <a:bodyPr wrap="square">
            <a:spAutoFit/>
          </a:bodyPr>
          <a:lstStyle>
            <a:lvl1pPr marL="141288" indent="-141288">
              <a:defRPr lang="en-US" sz="1800" dirty="0"/>
            </a:lvl1pPr>
            <a:lvl2pPr marL="285750" indent="-125413">
              <a:defRPr lang="en-US" sz="1600" dirty="0"/>
            </a:lvl2pPr>
            <a:lvl3pPr marL="438150" indent="-133350">
              <a:defRPr lang="en-US" dirty="0"/>
            </a:lvl3pPr>
            <a:lvl4pPr marL="566738" indent="-114300">
              <a:defRPr lang="en-US" dirty="0"/>
            </a:lvl4pPr>
            <a:lvl5pPr marL="685800" indent="-109538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AB70484-C812-6F3C-92DD-F6B2E1A813C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133652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1436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A189A1-1CA8-188A-84D8-D17359E95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B8255C-AE24-48B2-0745-C4E8CCDDE5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95F52A-3D80-4C8B-9BAA-D2C1D51EF9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022ABF-CB97-5462-0896-CB8A4B2A14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B59975-8DAD-3938-BAED-39DECEBA7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5ED0E-E83E-2A86-B3D0-B2823A425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4749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Column Bulle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92783506-927E-48F7-8EFC-36257F3E28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4200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FB6093D3-3EDF-4A80-8450-C5EBB19907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4200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438D2C80-6884-451D-8D7D-B69022CCC5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07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7614A884-0AD6-4A85-A432-2B13E7464D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49007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7D8FFDED-9FE5-4D94-8EB0-7D645C10FB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3814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429D954-9297-44FA-B7BD-5658601241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113814" y="228311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04D43B0D-50F8-4F63-AFA3-34A46F42E8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78621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04CEFDA-6A6F-42D3-B65C-4BE1054C90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8621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40485AC-5036-400C-92C3-D3E9EC0252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43428" y="1438275"/>
            <a:ext cx="1965960" cy="492443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90290A2-7689-4DF5-971A-36C2D91734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643428" y="2276475"/>
            <a:ext cx="1965960" cy="1452705"/>
          </a:xfrm>
        </p:spPr>
        <p:txBody>
          <a:bodyPr wrap="square">
            <a:spAutoFit/>
          </a:bodyPr>
          <a:lstStyle>
            <a:lvl1pPr marL="141288" indent="-141288">
              <a:defRPr lang="en-US" sz="1500" dirty="0"/>
            </a:lvl1pPr>
            <a:lvl2pPr marL="285750" indent="-125413">
              <a:defRPr lang="en-US" sz="1400" dirty="0"/>
            </a:lvl2pPr>
            <a:lvl3pPr marL="438150" indent="-133350">
              <a:defRPr lang="en-US" sz="1400" dirty="0"/>
            </a:lvl3pPr>
            <a:lvl4pPr marL="566738" indent="-114300">
              <a:defRPr lang="en-US" sz="1200" dirty="0"/>
            </a:lvl4pPr>
            <a:lvl5pPr marL="685800" indent="-109538">
              <a:defRPr lang="en-US" sz="1200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AA97F131-E501-E84F-7717-E61457B6D3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1101852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866906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4" orient="horz" pos="90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610">
          <p15:clr>
            <a:srgbClr val="5ACBF0"/>
          </p15:clr>
        </p15:guide>
        <p15:guide id="7" pos="1795">
          <p15:clr>
            <a:srgbClr val="5ACBF0"/>
          </p15:clr>
        </p15:guide>
        <p15:guide id="8" pos="3035">
          <p15:clr>
            <a:srgbClr val="5ACBF0"/>
          </p15:clr>
        </p15:guide>
        <p15:guide id="9" pos="3221">
          <p15:clr>
            <a:srgbClr val="5ACBF0"/>
          </p15:clr>
        </p15:guide>
        <p15:guide id="10" pos="4461">
          <p15:clr>
            <a:srgbClr val="5ACBF0"/>
          </p15:clr>
        </p15:guide>
        <p15:guide id="11" pos="5890">
          <p15:clr>
            <a:srgbClr val="5ACBF0"/>
          </p15:clr>
        </p15:guide>
        <p15:guide id="12" orient="horz" pos="1436">
          <p15:clr>
            <a:srgbClr val="5ACBF0"/>
          </p15:clr>
        </p15:guide>
        <p15:guide id="13" pos="4646">
          <p15:clr>
            <a:srgbClr val="5ACBF0"/>
          </p15:clr>
        </p15:guide>
        <p15:guide id="14" pos="6072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046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500" y="292100"/>
            <a:ext cx="11052046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7729617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046" cy="492443"/>
          </a:xfrm>
        </p:spPr>
        <p:txBody>
          <a:bodyPr/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kern="1200" cap="none" spc="-50" baseline="0" dirty="0">
                <a:ln w="3175">
                  <a:noFill/>
                </a:ln>
                <a:gradFill>
                  <a:gsLst>
                    <a:gs pos="2874">
                      <a:schemeClr val="accent1"/>
                    </a:gs>
                    <a:gs pos="71000">
                      <a:schemeClr val="accent4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34AA3C-2F0D-D667-86A9-3A48F0A226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500" y="292100"/>
            <a:ext cx="11052046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4945018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bg>
      <p:bgPr>
        <a:solidFill>
          <a:srgbClr val="FFF9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036C5E3-1C9B-8F43-9E7C-7124F0477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573126" y="1100097"/>
            <a:ext cx="11035281" cy="5451037"/>
          </a:xfrm>
          <a:prstGeom prst="roundRect">
            <a:avLst>
              <a:gd name="adj" fmla="val 3603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IN" sz="200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DF811F8-4A6F-396F-1DD4-FA9EBCA073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90" r="4762" b="74039"/>
          <a:stretch/>
        </p:blipFill>
        <p:spPr>
          <a:xfrm>
            <a:off x="1" y="0"/>
            <a:ext cx="12191998" cy="1358900"/>
          </a:xfrm>
          <a:custGeom>
            <a:avLst/>
            <a:gdLst>
              <a:gd name="connsiteX0" fmla="*/ 0 w 12191998"/>
              <a:gd name="connsiteY0" fmla="*/ 0 h 1358900"/>
              <a:gd name="connsiteX1" fmla="*/ 12191998 w 12191998"/>
              <a:gd name="connsiteY1" fmla="*/ 0 h 1358900"/>
              <a:gd name="connsiteX2" fmla="*/ 12191998 w 12191998"/>
              <a:gd name="connsiteY2" fmla="*/ 1358900 h 1358900"/>
              <a:gd name="connsiteX3" fmla="*/ 0 w 12191998"/>
              <a:gd name="connsiteY3" fmla="*/ 1358900 h 135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1358900">
                <a:moveTo>
                  <a:pt x="0" y="0"/>
                </a:moveTo>
                <a:lnTo>
                  <a:pt x="12191998" y="0"/>
                </a:lnTo>
                <a:lnTo>
                  <a:pt x="12191998" y="1358900"/>
                </a:lnTo>
                <a:lnTo>
                  <a:pt x="0" y="1358900"/>
                </a:lnTo>
                <a:close/>
              </a:path>
            </a:pathLst>
          </a:cu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B940884-550E-6BD2-C8DB-ED9A07667067}"/>
              </a:ext>
            </a:extLst>
          </p:cNvPr>
          <p:cNvSpPr>
            <a:spLocks/>
          </p:cNvSpPr>
          <p:nvPr userDrawn="1"/>
        </p:nvSpPr>
        <p:spPr>
          <a:xfrm>
            <a:off x="2" y="0"/>
            <a:ext cx="12191998" cy="1358900"/>
          </a:xfrm>
          <a:custGeom>
            <a:avLst/>
            <a:gdLst>
              <a:gd name="connsiteX0" fmla="*/ 0 w 12191998"/>
              <a:gd name="connsiteY0" fmla="*/ 0 h 1358900"/>
              <a:gd name="connsiteX1" fmla="*/ 12191998 w 12191998"/>
              <a:gd name="connsiteY1" fmla="*/ 0 h 1358900"/>
              <a:gd name="connsiteX2" fmla="*/ 12191998 w 12191998"/>
              <a:gd name="connsiteY2" fmla="*/ 1358900 h 1358900"/>
              <a:gd name="connsiteX3" fmla="*/ 0 w 12191998"/>
              <a:gd name="connsiteY3" fmla="*/ 1358900 h 1358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1358900">
                <a:moveTo>
                  <a:pt x="0" y="0"/>
                </a:moveTo>
                <a:lnTo>
                  <a:pt x="12191998" y="0"/>
                </a:lnTo>
                <a:lnTo>
                  <a:pt x="12191998" y="1358900"/>
                </a:lnTo>
                <a:lnTo>
                  <a:pt x="0" y="1358900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latin typeface="Segoe Sans Display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>
            <a:lvl1pPr marL="0" algn="l" defTabSz="932742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3600" b="0" kern="1200" cap="none" spc="0" baseline="0" dirty="0">
                <a:ln w="3175">
                  <a:noFill/>
                </a:ln>
                <a:gradFill>
                  <a:gsLst>
                    <a:gs pos="2874">
                      <a:schemeClr val="accent1"/>
                    </a:gs>
                    <a:gs pos="71000">
                      <a:schemeClr val="accent4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Graphic 34_1">
            <a:extLst>
              <a:ext uri="{FF2B5EF4-FFF2-40B4-BE49-F238E27FC236}">
                <a16:creationId xmlns:a16="http://schemas.microsoft.com/office/drawing/2014/main" id="{E448A26F-C0C9-DB36-2CFE-F7B47B2FAA77}"/>
              </a:ext>
            </a:extLst>
          </p:cNvPr>
          <p:cNvSpPr>
            <a:spLocks/>
          </p:cNvSpPr>
          <p:nvPr userDrawn="1"/>
        </p:nvSpPr>
        <p:spPr>
          <a:xfrm>
            <a:off x="1" y="1358900"/>
            <a:ext cx="12191998" cy="0"/>
          </a:xfrm>
          <a:custGeom>
            <a:avLst/>
            <a:gdLst>
              <a:gd name="connsiteX0" fmla="*/ 0 w 12191998"/>
              <a:gd name="connsiteY0" fmla="*/ 0 h 863854"/>
              <a:gd name="connsiteX1" fmla="*/ 12191998 w 12191998"/>
              <a:gd name="connsiteY1" fmla="*/ 0 h 863854"/>
              <a:gd name="connsiteX2" fmla="*/ 12191998 w 12191998"/>
              <a:gd name="connsiteY2" fmla="*/ 863854 h 863854"/>
              <a:gd name="connsiteX3" fmla="*/ 0 w 12191998"/>
              <a:gd name="connsiteY3" fmla="*/ 863854 h 863854"/>
              <a:gd name="connsiteX4" fmla="*/ 0 w 12191998"/>
              <a:gd name="connsiteY4" fmla="*/ 0 h 863854"/>
              <a:gd name="connsiteX0" fmla="*/ 0 w 12191998"/>
              <a:gd name="connsiteY0" fmla="*/ 0 h 863854"/>
              <a:gd name="connsiteX1" fmla="*/ 12191998 w 12191998"/>
              <a:gd name="connsiteY1" fmla="*/ 0 h 863854"/>
              <a:gd name="connsiteX2" fmla="*/ 12191998 w 12191998"/>
              <a:gd name="connsiteY2" fmla="*/ 863854 h 863854"/>
              <a:gd name="connsiteX3" fmla="*/ 0 w 12191998"/>
              <a:gd name="connsiteY3" fmla="*/ 863854 h 863854"/>
              <a:gd name="connsiteX4" fmla="*/ 91440 w 12191998"/>
              <a:gd name="connsiteY4" fmla="*/ 91440 h 863854"/>
              <a:gd name="connsiteX0" fmla="*/ 0 w 12191998"/>
              <a:gd name="connsiteY0" fmla="*/ 0 h 863854"/>
              <a:gd name="connsiteX1" fmla="*/ 12191998 w 12191998"/>
              <a:gd name="connsiteY1" fmla="*/ 0 h 863854"/>
              <a:gd name="connsiteX2" fmla="*/ 12191998 w 12191998"/>
              <a:gd name="connsiteY2" fmla="*/ 863854 h 863854"/>
              <a:gd name="connsiteX3" fmla="*/ 0 w 12191998"/>
              <a:gd name="connsiteY3" fmla="*/ 863854 h 863854"/>
              <a:gd name="connsiteX0" fmla="*/ 12191998 w 12191998"/>
              <a:gd name="connsiteY0" fmla="*/ 0 h 863854"/>
              <a:gd name="connsiteX1" fmla="*/ 12191998 w 12191998"/>
              <a:gd name="connsiteY1" fmla="*/ 863854 h 863854"/>
              <a:gd name="connsiteX2" fmla="*/ 0 w 12191998"/>
              <a:gd name="connsiteY2" fmla="*/ 863854 h 863854"/>
              <a:gd name="connsiteX0" fmla="*/ 12191998 w 12191998"/>
              <a:gd name="connsiteY0" fmla="*/ 0 h 0"/>
              <a:gd name="connsiteX1" fmla="*/ 0 w 12191998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191998">
                <a:moveTo>
                  <a:pt x="12191998" y="0"/>
                </a:moveTo>
                <a:lnTo>
                  <a:pt x="0" y="0"/>
                </a:lnTo>
              </a:path>
            </a:pathLst>
          </a:custGeom>
          <a:noFill/>
          <a:ln w="50800">
            <a:gradFill flip="none" rotWithShape="1">
              <a:gsLst>
                <a:gs pos="0">
                  <a:srgbClr val="FFA38B">
                    <a:lumMod val="98000"/>
                  </a:srgbClr>
                </a:gs>
                <a:gs pos="35000">
                  <a:srgbClr val="D361FF"/>
                </a:gs>
                <a:gs pos="70000">
                  <a:srgbClr val="2CB1FE"/>
                </a:gs>
                <a:gs pos="100000">
                  <a:schemeClr val="accent1"/>
                </a:gs>
              </a:gsLst>
              <a:lin ang="10800000" scaled="1"/>
              <a:tileRect/>
            </a:gra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cs typeface="Segoe UI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431A5C14-682E-DB09-57E9-1C6BC1949611}"/>
              </a:ext>
            </a:extLst>
          </p:cNvPr>
          <p:cNvSpPr>
            <a:spLocks/>
          </p:cNvSpPr>
          <p:nvPr userDrawn="1"/>
        </p:nvSpPr>
        <p:spPr bwMode="auto">
          <a:xfrm>
            <a:off x="6894513" y="1562102"/>
            <a:ext cx="4541795" cy="4838697"/>
          </a:xfrm>
          <a:prstGeom prst="roundRect">
            <a:avLst>
              <a:gd name="adj" fmla="val 2471"/>
            </a:avLst>
          </a:prstGeom>
          <a:solidFill>
            <a:schemeClr val="accent3">
              <a:lumMod val="20000"/>
              <a:lumOff val="80000"/>
              <a:alpha val="50000"/>
            </a:schemeClr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rtlCol="0" anchor="ctr" anchorCtr="0">
            <a:noAutofit/>
          </a:bodyPr>
          <a:lstStyle/>
          <a:p>
            <a:pPr marL="228600" marR="0" lvl="0" indent="-228600" algn="ctr" defTabSz="914367" fontAlgn="auto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anose="05000000000000000000" pitchFamily="2" charset="2"/>
              <a:buNone/>
              <a:tabLst/>
            </a:pPr>
            <a:endParaRPr kumimoji="0" lang="en-US" sz="2800" b="0" i="0" u="none" strike="noStrike" cap="none" spc="0" normalizeH="0" baseline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02B27A8-F8FC-857E-538F-6BFD7749E7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91" y="1660199"/>
            <a:ext cx="5921333" cy="659155"/>
          </a:xfrm>
        </p:spPr>
        <p:txBody>
          <a:bodyPr/>
          <a:lstStyle>
            <a:lvl1pPr marL="285750" indent="-285750" algn="l" defTabSz="914400" rtl="0" eaLnBrk="1" latinLnBrk="0" hangingPunct="1">
              <a:buFont typeface="Arial" panose="020B0604020202020204" pitchFamily="34" charset="0"/>
              <a:buChar char="•"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add text</a:t>
            </a:r>
          </a:p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9A0E38D-0002-F6AA-D26F-06CF4A87C49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692" y="2120078"/>
            <a:ext cx="5921333" cy="215444"/>
          </a:xfr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 lang="en-US" sz="1400" dirty="0"/>
            </a:lvl1pPr>
          </a:lstStyle>
          <a:p>
            <a:pPr marL="228600" lvl="0" indent="-228600">
              <a:buSzPct val="100000"/>
            </a:pPr>
            <a:r>
              <a:rPr lang="en-US"/>
              <a:t>Click to edit add text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F1027F2E-E6B7-4834-92E3-E7AC2135920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5691" y="2840023"/>
            <a:ext cx="5921333" cy="246221"/>
          </a:xfrm>
        </p:spPr>
        <p:txBody>
          <a:bodyPr/>
          <a:lstStyle>
            <a:lvl1pPr marL="0" indent="0" algn="l" defTabSz="914400" rtl="0" eaLnBrk="1" latinLnBrk="0" hangingPunct="1">
              <a:buNone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add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D9D3198-9AA0-5F80-DA12-149E3ECC63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5692" y="3299903"/>
            <a:ext cx="5921333" cy="646331"/>
          </a:xfrm>
        </p:spPr>
        <p:txBody>
          <a:bodyPr vert="horz" wrap="square" lIns="0" tIns="0" rIns="0" bIns="0" rtlCol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400" dirty="0"/>
            </a:lvl1pPr>
          </a:lstStyle>
          <a:p>
            <a:pPr marL="342900" lvl="0" indent="-342900">
              <a:buSzPct val="100000"/>
            </a:pPr>
            <a:r>
              <a:rPr lang="en-US"/>
              <a:t>Click to edit add text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03C5DC12-665A-86E5-C070-8C5F426DC9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5692" y="4450734"/>
            <a:ext cx="5921333" cy="246221"/>
          </a:xfrm>
        </p:spPr>
        <p:txBody>
          <a:bodyPr/>
          <a:lstStyle>
            <a:lvl1pPr marL="0" indent="0" algn="l" defTabSz="914400" rtl="0" eaLnBrk="1" latinLnBrk="0" hangingPunct="1">
              <a:buNone/>
              <a:defRPr kumimoji="0" lang="en-US" sz="1600" b="0" i="0" u="none" strike="noStrike" kern="1200" cap="none" spc="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16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</a:lstStyle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add tex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D75FB69-4FEE-302B-4B45-772074E5F0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55692" y="4910613"/>
            <a:ext cx="5921333" cy="1437317"/>
          </a:xfrm>
        </p:spPr>
        <p:txBody>
          <a:bodyPr>
            <a:noAutofit/>
          </a:bodyPr>
          <a:lstStyle>
            <a:lvl1pPr marL="195263" indent="-195263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39A1C0-83B2-42B8-D6BA-B9E170E9B63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95536" y="2779200"/>
            <a:ext cx="3163888" cy="580159"/>
          </a:xfrm>
        </p:spPr>
        <p:txBody>
          <a:bodyPr/>
          <a:lstStyle>
            <a:lvl1pPr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n-ea"/>
                <a:cs typeface="+mn-cs"/>
              </a:defRPr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/>
            </a:lvl4pPr>
            <a:lvl5pPr marL="0" indent="0">
              <a:defRPr/>
            </a:lvl5pPr>
          </a:lstStyle>
          <a:p>
            <a:pPr marL="0" marR="0" lvl="0" indent="0" algn="l" defTabSz="914367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marL="228600" marR="0" lvl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00000"/>
              <a:tabLst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2642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68">
          <p15:clr>
            <a:srgbClr val="A4A3A4"/>
          </p15:clr>
        </p15:guide>
        <p15:guide id="17" pos="3936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1200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33087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Sans Display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75724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6583680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4200" y="1435100"/>
            <a:ext cx="5394960" cy="48339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27CBDD-49E9-BBDF-550B-482E4E570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292100"/>
            <a:ext cx="6583680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  <p:pic>
        <p:nvPicPr>
          <p:cNvPr id="3" name="Picture 2" descr="A colorful gradient going from darker blue on the left side to light blue to magenta to orange on the right side">
            <a:extLst>
              <a:ext uri="{FF2B5EF4-FFF2-40B4-BE49-F238E27FC236}">
                <a16:creationId xmlns:a16="http://schemas.microsoft.com/office/drawing/2014/main" id="{B2CFD743-438B-21E8-B2BA-FF8644B73E5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402320" y="3068320"/>
            <a:ext cx="6858000" cy="721360"/>
          </a:xfrm>
          <a:prstGeom prst="roundRect">
            <a:avLst>
              <a:gd name="adj" fmla="val 0"/>
            </a:avLst>
          </a:prstGeom>
        </p:spPr>
      </p:pic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D4F7535E-BABE-1B76-52D3-D100205F62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343080" y="1866864"/>
            <a:ext cx="5544120" cy="3124272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731520" rIns="73152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3471703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88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2875002"/>
            <a:ext cx="3840862" cy="1107996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662A5-6E2F-47B0-9B6E-E87983D37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pic>
        <p:nvPicPr>
          <p:cNvPr id="3" name="Picture 2" descr="A colorful gradient going from darker blue on the left side to light blue to magenta to orange on the right side">
            <a:extLst>
              <a:ext uri="{FF2B5EF4-FFF2-40B4-BE49-F238E27FC236}">
                <a16:creationId xmlns:a16="http://schemas.microsoft.com/office/drawing/2014/main" id="{453295D4-3AEF-C922-4A3C-5C3DBD4757A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402320" y="3068320"/>
            <a:ext cx="6858000" cy="721360"/>
          </a:xfrm>
          <a:prstGeom prst="roundRect">
            <a:avLst>
              <a:gd name="adj" fmla="val 0"/>
            </a:avLst>
          </a:prstGeom>
        </p:spPr>
      </p:pic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D4F7535E-BABE-1B76-52D3-D100205F62B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1125" y="1542284"/>
            <a:ext cx="6696075" cy="3773432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241300" dist="304800" dir="2700000" sx="101000" sy="101000" algn="ctr" rotWithShape="0">
              <a:srgbClr val="000000">
                <a:alpha val="17000"/>
              </a:srgbClr>
            </a:outerShdw>
          </a:effectLst>
        </p:spPr>
        <p:txBody>
          <a:bodyPr lIns="731520" rIns="731520" bIns="109728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Drag &amp; drop your photo here or click or tap icon below to insert</a:t>
            </a:r>
          </a:p>
        </p:txBody>
      </p:sp>
    </p:spTree>
    <p:extLst>
      <p:ext uri="{BB962C8B-B14F-4D97-AF65-F5344CB8AC3E}">
        <p14:creationId xmlns:p14="http://schemas.microsoft.com/office/powerpoint/2010/main" val="12039172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Graphic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834586-5E35-30D9-D8B4-75A164A4F9C0}"/>
              </a:ext>
            </a:extLst>
          </p:cNvPr>
          <p:cNvSpPr/>
          <p:nvPr/>
        </p:nvSpPr>
        <p:spPr bwMode="auto">
          <a:xfrm>
            <a:off x="0" y="2438400"/>
            <a:ext cx="12192000" cy="4419600"/>
          </a:xfrm>
          <a:prstGeom prst="rect">
            <a:avLst/>
          </a:prstGeom>
          <a:solidFill>
            <a:srgbClr val="E1D3C7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745164" cy="1514157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2743200"/>
            <a:ext cx="4749800" cy="352583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918200" y="1155700"/>
            <a:ext cx="5702300" cy="5465928"/>
          </a:xfrm>
          <a:prstGeom prst="round2SameRect">
            <a:avLst>
              <a:gd name="adj1" fmla="val 2235"/>
              <a:gd name="adj2" fmla="val 0"/>
            </a:avLst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b="-4324"/>
            </a:stretch>
          </a:blipFill>
        </p:spPr>
        <p:txBody>
          <a:bodyPr lIns="0" tIns="91440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5C000A-8BFF-12E7-7DFB-FF34728592C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3678"/>
          <a:stretch/>
        </p:blipFill>
        <p:spPr>
          <a:xfrm flipV="1">
            <a:off x="5918200" y="6621628"/>
            <a:ext cx="5702300" cy="236372"/>
          </a:xfrm>
          <a:prstGeom prst="round2SameRect">
            <a:avLst>
              <a:gd name="adj1" fmla="val 0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3630651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32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624513" y="585788"/>
            <a:ext cx="5683249" cy="5683249"/>
          </a:xfrm>
          <a:prstGeom prst="roundRect">
            <a:avLst>
              <a:gd name="adj" fmla="val 3259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91440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2" name="Picture 1" hidden="1">
            <a:extLst>
              <a:ext uri="{FF2B5EF4-FFF2-40B4-BE49-F238E27FC236}">
                <a16:creationId xmlns:a16="http://schemas.microsoft.com/office/drawing/2014/main" id="{4E2E619B-2D74-9B55-98E1-9E6126DE0DB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3678"/>
          <a:stretch/>
        </p:blipFill>
        <p:spPr>
          <a:xfrm flipV="1">
            <a:off x="5614987" y="6032665"/>
            <a:ext cx="5702300" cy="236372"/>
          </a:xfrm>
          <a:prstGeom prst="round2SameRect">
            <a:avLst>
              <a:gd name="adj1" fmla="val 50000"/>
              <a:gd name="adj2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35512769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32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2578C-F0E5-CE84-4564-EB90FF27D8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87A862-32EF-9301-1C8E-6C54BF3656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03CF5D-0744-FA07-3371-B89018A322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3D7D6B-87BE-CEAA-0AB6-B614A89B26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4DF6A3-E2AC-A5AE-9F5F-ABE019EAFA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7D74BE-2E99-3F01-A35B-A9195EAEC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88F93E-AE7F-E180-EE74-D663D43BE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81969E-8D79-9270-9B9D-03E4DAA2B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2435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Graphic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 descr="A close-up of a colorful object&#10;&#10;Description automatically generated">
            <a:extLst>
              <a:ext uri="{FF2B5EF4-FFF2-40B4-BE49-F238E27FC236}">
                <a16:creationId xmlns:a16="http://schemas.microsoft.com/office/drawing/2014/main" id="{89A104E1-D13F-B13B-BB5D-930C8205C89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3999" y="0"/>
            <a:ext cx="6858001" cy="6858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Picture 7" descr="A colorful gradient going from darker blue on the left side to light blue to magenta to orange on the right side">
            <a:extLst>
              <a:ext uri="{FF2B5EF4-FFF2-40B4-BE49-F238E27FC236}">
                <a16:creationId xmlns:a16="http://schemas.microsoft.com/office/drawing/2014/main" id="{69B64261-FB99-ADE9-26E4-3ECE1E68CF3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0" b="160"/>
          <a:stretch/>
        </p:blipFill>
        <p:spPr>
          <a:xfrm rot="16200000">
            <a:off x="6205856" y="868680"/>
            <a:ext cx="5120640" cy="5120640"/>
          </a:xfrm>
          <a:prstGeom prst="roundRect">
            <a:avLst>
              <a:gd name="adj" fmla="val 2716"/>
            </a:avLst>
          </a:prstGeom>
        </p:spPr>
      </p:pic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6705600" y="1371600"/>
            <a:ext cx="4114800" cy="4114800"/>
          </a:xfrm>
          <a:prstGeom prst="roundRect">
            <a:avLst>
              <a:gd name="adj" fmla="val 2346"/>
            </a:avLst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11887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0108656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32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Graphic 4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58AEFBE-EE1F-0FBF-5C84-1DF6EC17775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6705600" y="1371600"/>
            <a:ext cx="4114800" cy="4114800"/>
          </a:xfrm>
          <a:prstGeom prst="roundRect">
            <a:avLst>
              <a:gd name="adj" fmla="val 2602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11887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8590459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32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8963"/>
            <a:ext cx="4158362" cy="253523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0"/>
            <a:ext cx="4162425" cy="2733497"/>
          </a:xfrm>
        </p:spPr>
        <p:txBody>
          <a:bodyPr/>
          <a:lstStyle>
            <a:lvl1pPr marL="0" indent="0">
              <a:buNone/>
              <a:defRPr sz="22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BDF4B0-32EF-4DA8-9A83-B73DD8310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4309955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"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F87341-ECEA-3B94-51B2-A9E24914685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ED39DE-8DED-DC59-2BDA-C621877CF646}"/>
              </a:ext>
            </a:extLst>
          </p:cNvPr>
          <p:cNvSpPr/>
          <p:nvPr/>
        </p:nvSpPr>
        <p:spPr bwMode="auto">
          <a:xfrm>
            <a:off x="0" y="-1"/>
            <a:ext cx="5334000" cy="6857999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chemeClr val="bg1">
                  <a:shade val="100000"/>
                  <a:satMod val="115000"/>
                  <a:alpha val="22143"/>
                </a:scheme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4159950" cy="5683249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A09A47B-FEF5-47F3-B2DD-A73E7C323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5058156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5" orient="horz" pos="2160">
          <p15:clr>
            <a:srgbClr val="5ACBF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D4BC3CE-C968-246E-EAC3-B829FDF59F1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79738"/>
            <a:ext cx="4163125" cy="32893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2F1290-9237-4BEE-AAAC-6708F28626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171897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5ACBF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4572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157216"/>
            <a:ext cx="11018520" cy="111182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996C37-D0C9-4349-A860-B639C4EB9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86972092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5ACBF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4EB85E8-62D6-9C5F-D48A-055FCADA251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2286000"/>
            <a:ext cx="12192000" cy="45720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wrap="square" lIns="0" tIns="1280160" rIns="0" bIns="0" rtlCol="0" anchor="t" anchorCtr="0">
            <a:noAutofit/>
          </a:bodyPr>
          <a:lstStyle>
            <a:lvl1pPr marL="0" indent="0" algn="ctr">
              <a:buNone/>
              <a:defRPr lang="en-US" sz="1400" b="1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499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FDE6F-0F4B-446A-A51F-494FB09966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5771972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199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5367528" cy="347472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1860" y="5689600"/>
            <a:ext cx="5367528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39255" y="2025650"/>
            <a:ext cx="5367528" cy="347472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1005840" rtlCol="0" anchor="ctr" anchorCtr="0">
            <a:noAutofit/>
          </a:bodyPr>
          <a:lstStyle>
            <a:lvl1pPr marL="0" indent="0" algn="ctr">
              <a:buNone/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228600" lvl="0" indent="-228600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F59E09-7602-42B9-AB0C-9D1365A9E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976623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  <p15:guide id="8" orient="horz" pos="3464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3474720" cy="347472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8640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358640" y="2025650"/>
            <a:ext cx="3474720" cy="347472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34351" y="5689600"/>
            <a:ext cx="3475037" cy="5794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32063" y="2025650"/>
            <a:ext cx="3474720" cy="347472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36921-D927-4BA6-8891-8AEE97849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6339241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  <p15:guide id="10" orient="horz" pos="3465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8323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2613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582612" y="2025650"/>
            <a:ext cx="2532888" cy="253288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6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13908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413908" y="2025650"/>
            <a:ext cx="2532888" cy="2532888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6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45204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245204" y="2025650"/>
            <a:ext cx="2532888" cy="2532888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6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76500" y="4753938"/>
            <a:ext cx="2532888" cy="15151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073895" y="2025650"/>
            <a:ext cx="2532888" cy="2532888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6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56B00-AAD4-4F4F-8228-B6CF8367DE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490950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  <p15:guide id="12" orient="horz" pos="2870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504520-19B9-B803-A906-D3E690085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782EFB-2BD8-808A-2FBD-41E3B13C6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D8600F-9645-730E-6973-B61D83FB4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E2C18D-D776-D4D3-A8E9-EDE38CBD2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501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5334000"/>
            <a:ext cx="4892040" cy="9350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6062472" cy="280720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14744" y="5334000"/>
            <a:ext cx="4892040" cy="93821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6129528" y="2286000"/>
            <a:ext cx="6062472" cy="2807208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AE597A-BE1E-6B1F-960D-A90DC9544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9885481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4" orient="horz" pos="3209">
          <p15:clr>
            <a:srgbClr val="5ACBF0"/>
          </p15:clr>
        </p15:guide>
        <p15:guide id="5" pos="3826">
          <p15:clr>
            <a:srgbClr val="5ACBF0"/>
          </p15:clr>
        </p15:guide>
        <p15:guide id="6" pos="3859">
          <p15:clr>
            <a:srgbClr val="5ACBF0"/>
          </p15:clr>
        </p15:guide>
        <p15:guide id="11" pos="1910">
          <p15:clr>
            <a:srgbClr val="5ACBF0"/>
          </p15:clr>
        </p15:guide>
        <p15:guide id="12" pos="5770">
          <p15:clr>
            <a:srgbClr val="5ACBF0"/>
          </p15:clr>
        </p15:guide>
        <p15:guide id="13" orient="horz" pos="3360">
          <p15:clr>
            <a:srgbClr val="5ACBF0"/>
          </p15:clr>
        </p15:guide>
        <p15:guide id="14" orient="horz">
          <p15:clr>
            <a:srgbClr val="5ACBF0"/>
          </p15:clr>
        </p15:guide>
        <p15:guide id="15" pos="3451">
          <p15:clr>
            <a:srgbClr val="5ACBF0"/>
          </p15:clr>
        </p15:guide>
        <p15:guide id="16" pos="4229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285292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4023360" cy="2286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69536" y="4799409"/>
            <a:ext cx="285292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4084320" y="2286000"/>
            <a:ext cx="4023360" cy="228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53856" y="4799410"/>
            <a:ext cx="285292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8168640" y="2286000"/>
            <a:ext cx="4023360" cy="22860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999C7-F5A8-46A6-92C5-AA3BE4E26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7037398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2534">
          <p15:clr>
            <a:srgbClr val="5ACBF0"/>
          </p15:clr>
        </p15:guide>
        <p15:guide id="6" pos="2573">
          <p15:clr>
            <a:srgbClr val="5ACBF0"/>
          </p15:clr>
        </p15:guide>
        <p15:guide id="8" pos="5109">
          <p15:clr>
            <a:srgbClr val="5ACBF0"/>
          </p15:clr>
        </p15:guide>
        <p15:guide id="9" pos="5145">
          <p15:clr>
            <a:srgbClr val="5ACBF0"/>
          </p15:clr>
        </p15:guide>
        <p15:guide id="11" pos="1266">
          <p15:clr>
            <a:srgbClr val="5ACBF0"/>
          </p15:clr>
        </p15:guide>
        <p15:guide id="12" pos="3840">
          <p15:clr>
            <a:srgbClr val="5ACBF0"/>
          </p15:clr>
        </p15:guide>
        <p15:guide id="13" pos="6414">
          <p15:clr>
            <a:srgbClr val="5ACBF0"/>
          </p15:clr>
        </p15:guide>
        <p15:guide id="14" orient="horz" pos="1074">
          <p15:clr>
            <a:srgbClr val="5ACBF0"/>
          </p15:clr>
        </p15:guide>
        <p15:guide id="15" pos="2168">
          <p15:clr>
            <a:srgbClr val="5ACBF0"/>
          </p15:clr>
        </p15:guide>
        <p15:guide id="16" pos="2944">
          <p15:clr>
            <a:srgbClr val="5ACBF0"/>
          </p15:clr>
        </p15:guide>
        <p15:guide id="17" pos="4738">
          <p15:clr>
            <a:srgbClr val="5ACBF0"/>
          </p15:clr>
        </p15:guide>
        <p15:guide id="18" pos="5514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16" y="4800600"/>
            <a:ext cx="1828800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999232" cy="2286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49472" y="4799409"/>
            <a:ext cx="1828800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3064256" y="2286000"/>
            <a:ext cx="2999232" cy="228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728" y="4799410"/>
            <a:ext cx="1828800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6128512" y="2286000"/>
            <a:ext cx="2999232" cy="22860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777984" y="4799409"/>
            <a:ext cx="1828800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9192768" y="2286000"/>
            <a:ext cx="2999232" cy="228600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10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397766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5" pos="1890">
          <p15:clr>
            <a:srgbClr val="5ACBF0"/>
          </p15:clr>
        </p15:guide>
        <p15:guide id="6" pos="1930">
          <p15:clr>
            <a:srgbClr val="5ACBF0"/>
          </p15:clr>
        </p15:guide>
        <p15:guide id="7" pos="5749">
          <p15:clr>
            <a:srgbClr val="5ACBF0"/>
          </p15:clr>
        </p15:guide>
        <p15:guide id="8" pos="3820">
          <p15:clr>
            <a:srgbClr val="5ACBF0"/>
          </p15:clr>
        </p15:guide>
        <p15:guide id="9" pos="3860">
          <p15:clr>
            <a:srgbClr val="5ACBF0"/>
          </p15:clr>
        </p15:guide>
        <p15:guide id="10" pos="5789">
          <p15:clr>
            <a:srgbClr val="5ACBF0"/>
          </p15:clr>
        </p15:guide>
        <p15:guide id="11" pos="944">
          <p15:clr>
            <a:srgbClr val="5ACBF0"/>
          </p15:clr>
        </p15:guide>
        <p15:guide id="12" pos="2876">
          <p15:clr>
            <a:srgbClr val="5ACBF0"/>
          </p15:clr>
        </p15:guide>
        <p15:guide id="13" pos="4807">
          <p15:clr>
            <a:srgbClr val="5ACBF0"/>
          </p15:clr>
        </p15:guide>
        <p15:guide id="14" pos="6736">
          <p15:clr>
            <a:srgbClr val="5ACBF0"/>
          </p15:clr>
        </p15:guide>
        <p15:guide id="15" orient="horz">
          <p15:clr>
            <a:srgbClr val="5ACBF0"/>
          </p15:clr>
        </p15:guide>
        <p15:guide id="16" pos="1524">
          <p15:clr>
            <a:srgbClr val="5ACBF0"/>
          </p15:clr>
        </p15:guide>
        <p15:guide id="17" pos="2298">
          <p15:clr>
            <a:srgbClr val="5ACBF0"/>
          </p15:clr>
        </p15:guide>
        <p15:guide id="18" pos="3450">
          <p15:clr>
            <a:srgbClr val="5ACBF0"/>
          </p15:clr>
        </p15:guide>
        <p15:guide id="19" pos="4230">
          <p15:clr>
            <a:srgbClr val="5ACBF0"/>
          </p15:clr>
        </p15:guide>
        <p15:guide id="20" pos="5380">
          <p15:clr>
            <a:srgbClr val="5ACBF0"/>
          </p15:clr>
        </p15:guide>
        <p15:guide id="21" pos="6156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filmstrip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46CB2-4FDC-43D5-B122-6F27B3C82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5788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244E618-D996-41A6-8C9D-0C3519EA7A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2608" y="4800600"/>
            <a:ext cx="1801368" cy="146843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8B32544F-F93C-4713-86AD-641424F4A7B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0" y="2286000"/>
            <a:ext cx="2386584" cy="2286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731520" rtlCol="0" anchor="ctr" anchorCtr="0">
            <a:noAutofit/>
          </a:bodyPr>
          <a:lstStyle>
            <a:lvl1pPr>
              <a:defRPr lang="en-US" sz="8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4C32BD-CEF7-42AC-94D8-052EF30E23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43962" y="4799409"/>
            <a:ext cx="1801368" cy="147280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25EC377-3BC6-40D8-AECB-4FEB302014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ltGray">
          <a:xfrm>
            <a:off x="2451354" y="2286000"/>
            <a:ext cx="2386584" cy="228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731520" rtlCol="0" anchor="ctr" anchorCtr="0">
            <a:noAutofit/>
          </a:bodyPr>
          <a:lstStyle>
            <a:lvl1pPr>
              <a:defRPr lang="en-US" sz="8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682B8EC-8F33-4730-BBE6-E8B7234C9C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95316" y="4799410"/>
            <a:ext cx="1801368" cy="146962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DB5F15A-5980-40FF-9D54-3FDE41D604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ltGray">
          <a:xfrm>
            <a:off x="4902708" y="2286000"/>
            <a:ext cx="2386584" cy="2286000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731520" rtlCol="0" anchor="ctr" anchorCtr="0">
            <a:noAutofit/>
          </a:bodyPr>
          <a:lstStyle>
            <a:lvl1pPr>
              <a:defRPr lang="en-US" sz="8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3564109-638C-44E2-AE84-46B44C29FD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646670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13AAE36-2045-4D14-87DC-59D4EFCC150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ltGray">
          <a:xfrm>
            <a:off x="7354062" y="2286000"/>
            <a:ext cx="2386584" cy="2286000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731520" rtlCol="0" anchor="ctr" anchorCtr="0">
            <a:noAutofit/>
          </a:bodyPr>
          <a:lstStyle>
            <a:lvl1pPr>
              <a:defRPr lang="en-US" sz="8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B1B6F72-F14C-40F1-8B29-8620AA34DC6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098024" y="4799409"/>
            <a:ext cx="1801368" cy="146962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AD682C7-20D7-4ED0-99A7-C8530DAC86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ltGray">
          <a:xfrm>
            <a:off x="9805416" y="2286000"/>
            <a:ext cx="2386584" cy="2286000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FE569B-F817-467C-8BAC-558CE9824D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3100598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1440">
          <p15:clr>
            <a:srgbClr val="5ACBF0"/>
          </p15:clr>
        </p15:guide>
        <p15:guide id="3" orient="horz" pos="2880">
          <p15:clr>
            <a:srgbClr val="5ACBF0"/>
          </p15:clr>
        </p15:guide>
        <p15:guide id="4" orient="horz" pos="3024">
          <p15:clr>
            <a:srgbClr val="5ACBF0"/>
          </p15:clr>
        </p15:guide>
        <p15:guide id="8" pos="4631">
          <p15:clr>
            <a:srgbClr val="5ACBF0"/>
          </p15:clr>
        </p15:guide>
        <p15:guide id="9" pos="4593">
          <p15:clr>
            <a:srgbClr val="5ACBF0"/>
          </p15:clr>
        </p15:guide>
        <p15:guide id="10" pos="6134">
          <p15:clr>
            <a:srgbClr val="5ACBF0"/>
          </p15:clr>
        </p15:guide>
        <p15:guide id="11" pos="1323">
          <p15:clr>
            <a:srgbClr val="5ACBF0"/>
          </p15:clr>
        </p15:guide>
        <p15:guide id="12" pos="2865">
          <p15:clr>
            <a:srgbClr val="5ACBF0"/>
          </p15:clr>
        </p15:guide>
        <p15:guide id="13" pos="4815">
          <p15:clr>
            <a:srgbClr val="5ACBF0"/>
          </p15:clr>
        </p15:guide>
        <p15:guide id="14" pos="6361">
          <p15:clr>
            <a:srgbClr val="5ACBF0"/>
          </p15:clr>
        </p15:guide>
        <p15:guide id="15" orient="horz">
          <p15:clr>
            <a:srgbClr val="5ACBF0"/>
          </p15:clr>
        </p15:guide>
        <p15:guide id="16" pos="1727">
          <p15:clr>
            <a:srgbClr val="5ACBF0"/>
          </p15:clr>
        </p15:guide>
        <p15:guide id="17" pos="2294">
          <p15:clr>
            <a:srgbClr val="5ACBF0"/>
          </p15:clr>
        </p15:guide>
        <p15:guide id="18" pos="3273">
          <p15:clr>
            <a:srgbClr val="5ACBF0"/>
          </p15:clr>
        </p15:guide>
        <p15:guide id="19" pos="4411">
          <p15:clr>
            <a:srgbClr val="5ACBF0"/>
          </p15:clr>
        </p15:guide>
        <p15:guide id="21" pos="6179">
          <p15:clr>
            <a:srgbClr val="5ACBF0"/>
          </p15:clr>
        </p15:guide>
        <p15:guide id="22" pos="1501">
          <p15:clr>
            <a:srgbClr val="5ACBF0"/>
          </p15:clr>
        </p15:guide>
        <p15:guide id="23" pos="1543">
          <p15:clr>
            <a:srgbClr val="5ACBF0"/>
          </p15:clr>
        </p15:guide>
        <p15:guide id="24" pos="3049">
          <p15:clr>
            <a:srgbClr val="5ACBF0"/>
          </p15:clr>
        </p15:guide>
        <p15:guide id="25" pos="3088">
          <p15:clr>
            <a:srgbClr val="5ACBF0"/>
          </p15:clr>
        </p15:guide>
        <p15:guide id="26" pos="5954">
          <p15:clr>
            <a:srgbClr val="5ACBF0"/>
          </p15:clr>
        </p15:guide>
        <p15:guide id="27" pos="3840">
          <p15:clr>
            <a:srgbClr val="5ACBF0"/>
          </p15:clr>
        </p15:guide>
        <p15:guide id="28" pos="5386">
          <p15:clr>
            <a:srgbClr val="5ACBF0"/>
          </p15:clr>
        </p15:guide>
        <p15:guide id="29" pos="753">
          <p15:clr>
            <a:srgbClr val="5ACBF0"/>
          </p15:clr>
        </p15:guide>
        <p15:guide id="30" pos="6927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8962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2037906" y="2286000"/>
            <a:ext cx="2313432" cy="2313432"/>
          </a:xfrm>
          <a:prstGeom prst="ellipse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9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06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4939284" y="2286000"/>
            <a:ext cx="2313432" cy="2313432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9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39284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7840663" y="2286000"/>
            <a:ext cx="2313432" cy="2313432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9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0663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D6AFB7A-35B4-4881-AB50-D11248216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342714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3840">
          <p15:clr>
            <a:srgbClr val="5ACBF0"/>
          </p15:clr>
        </p15:guide>
        <p15:guide id="4" pos="1283">
          <p15:clr>
            <a:srgbClr val="5ACBF0"/>
          </p15:clr>
        </p15:guide>
        <p15:guide id="5" pos="5666">
          <p15:clr>
            <a:srgbClr val="5ACBF0"/>
          </p15:clr>
        </p15:guide>
        <p15:guide id="6" pos="2741">
          <p15:clr>
            <a:srgbClr val="5ACBF0"/>
          </p15:clr>
        </p15:guide>
        <p15:guide id="7" pos="2012">
          <p15:clr>
            <a:srgbClr val="5ACBF0"/>
          </p15:clr>
        </p15:guide>
        <p15:guide id="8" pos="3109">
          <p15:clr>
            <a:srgbClr val="5ACBF0"/>
          </p15:clr>
        </p15:guide>
        <p15:guide id="9" pos="4570">
          <p15:clr>
            <a:srgbClr val="5ACBF0"/>
          </p15:clr>
        </p15:guide>
        <p15:guide id="11" pos="6397">
          <p15:clr>
            <a:srgbClr val="5ACBF0"/>
          </p15:clr>
        </p15:guide>
        <p15:guide id="12" orient="horz" pos="1440">
          <p15:clr>
            <a:srgbClr val="5ACBF0"/>
          </p15:clr>
        </p15:guide>
        <p15:guide id="13" pos="4938">
          <p15:clr>
            <a:srgbClr val="5ACBF0"/>
          </p15:clr>
        </p15:guide>
        <p15:guide id="14" orient="horz" pos="2894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2313432" cy="2313432"/>
          </a:xfrm>
          <a:prstGeom prst="ellipse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9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3487250" y="2286000"/>
            <a:ext cx="2313432" cy="2313432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9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725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6390300" y="2286000"/>
            <a:ext cx="2313432" cy="2313432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900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0300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9293351" y="2286000"/>
            <a:ext cx="2313432" cy="2313432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square" lIns="0" tIns="0" rIns="0" bIns="594360" rtlCol="0" anchor="ctr" anchorCtr="0">
            <a:noAutofit/>
          </a:bodyPr>
          <a:lstStyle>
            <a:lvl1pPr>
              <a:defRPr lang="en-US" sz="900" b="1" dirty="0">
                <a:solidFill>
                  <a:schemeClr val="tx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93351" y="4800600"/>
            <a:ext cx="2313432" cy="146843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2903703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3024">
          <p15:clr>
            <a:srgbClr val="5ACBF0"/>
          </p15:clr>
        </p15:guide>
        <p15:guide id="3" pos="4025">
          <p15:clr>
            <a:srgbClr val="5ACBF0"/>
          </p15:clr>
        </p15:guide>
        <p15:guide id="5" pos="5854">
          <p15:clr>
            <a:srgbClr val="5ACBF0"/>
          </p15:clr>
        </p15:guide>
        <p15:guide id="7" pos="3654">
          <p15:clr>
            <a:srgbClr val="5ACBF0"/>
          </p15:clr>
        </p15:guide>
        <p15:guide id="8" pos="2195">
          <p15:clr>
            <a:srgbClr val="5ACBF0"/>
          </p15:clr>
        </p15:guide>
        <p15:guide id="10" pos="2926">
          <p15:clr>
            <a:srgbClr val="5ACBF0"/>
          </p15:clr>
        </p15:guide>
        <p15:guide id="11" pos="4756">
          <p15:clr>
            <a:srgbClr val="5ACBF0"/>
          </p15:clr>
        </p15:guide>
        <p15:guide id="12" pos="6581">
          <p15:clr>
            <a:srgbClr val="5ACBF0"/>
          </p15:clr>
        </p15:guide>
        <p15:guide id="13" pos="1097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26">
          <p15:clr>
            <a:srgbClr val="5ACBF0"/>
          </p15:clr>
        </p15:guide>
        <p15:guide id="18" pos="5483">
          <p15:clr>
            <a:srgbClr val="5ACBF0"/>
          </p15:clr>
        </p15:guide>
        <p15:guide id="19" orient="horz" pos="2898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ve round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3D211-079C-4884-AB74-BFA812A6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583007"/>
            <a:ext cx="11018520" cy="111556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757E314-6417-4051-A2CD-D3614CAA6A7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ltGray">
          <a:xfrm>
            <a:off x="584200" y="2286000"/>
            <a:ext cx="1737360" cy="1737360"/>
          </a:xfrm>
          <a:prstGeom prst="ellipse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BBECFAF-80A0-4620-8865-87562DFB49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4200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5577FC3-49F5-4B04-AFD3-AA0A57BA8355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ltGray">
          <a:xfrm>
            <a:off x="2905506" y="2286000"/>
            <a:ext cx="1737360" cy="1737360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AD287B4-D736-4707-854D-BEA62EF2BBC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05506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9B56ECFD-6AA2-4EC5-A445-D1E0952199E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 bwMode="ltGray">
          <a:xfrm>
            <a:off x="5227320" y="2286000"/>
            <a:ext cx="1737360" cy="1737360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ED5A27F-D9D2-4DCB-8422-4694477ECA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27320" y="4235451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78E1D3B-7D6F-4EFD-9EB2-E1A27309D6AF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 bwMode="ltGray">
          <a:xfrm>
            <a:off x="7548118" y="2286000"/>
            <a:ext cx="1737360" cy="1737360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44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B2FF62-05DC-462E-808C-4DDE1C65392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48118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E4DC3400-0B11-4EA0-9B8D-6FADE6964F37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 bwMode="ltGray">
          <a:xfrm>
            <a:off x="9869423" y="2286000"/>
            <a:ext cx="1737360" cy="1737360"/>
          </a:xfrm>
          <a:prstGeom prst="ellipse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0" rIns="0" bIns="59436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7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33C357E-ECC0-485F-9033-5D4DEC8774B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869423" y="4235450"/>
            <a:ext cx="1737360" cy="2033588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A72D6D-004C-4F57-AD34-F1019A7560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8774401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720">
          <p15:clr>
            <a:srgbClr val="5ACBF0"/>
          </p15:clr>
        </p15:guide>
        <p15:guide id="2" orient="horz" pos="2664">
          <p15:clr>
            <a:srgbClr val="5ACBF0"/>
          </p15:clr>
        </p15:guide>
        <p15:guide id="3" pos="6216">
          <p15:clr>
            <a:srgbClr val="5ACBF0"/>
          </p15:clr>
        </p15:guide>
        <p15:guide id="5" pos="5850">
          <p15:clr>
            <a:srgbClr val="5ACBF0"/>
          </p15:clr>
        </p15:guide>
        <p15:guide id="7" pos="4392">
          <p15:clr>
            <a:srgbClr val="5ACBF0"/>
          </p15:clr>
        </p15:guide>
        <p15:guide id="8" pos="3292">
          <p15:clr>
            <a:srgbClr val="5ACBF0"/>
          </p15:clr>
        </p15:guide>
        <p15:guide id="10" pos="2926">
          <p15:clr>
            <a:srgbClr val="5ACBF0"/>
          </p15:clr>
        </p15:guide>
        <p15:guide id="11" pos="4754">
          <p15:clr>
            <a:srgbClr val="5ACBF0"/>
          </p15:clr>
        </p15:guide>
        <p15:guide id="13" pos="1464">
          <p15:clr>
            <a:srgbClr val="5ACBF0"/>
          </p15:clr>
        </p15:guide>
        <p15:guide id="14" orient="horz" pos="1440">
          <p15:clr>
            <a:srgbClr val="5ACBF0"/>
          </p15:clr>
        </p15:guide>
        <p15:guide id="15" pos="1830">
          <p15:clr>
            <a:srgbClr val="5ACBF0"/>
          </p15:clr>
        </p15:guide>
        <p15:guide id="16" orient="horz" pos="2533">
          <p15:clr>
            <a:srgbClr val="5ACBF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2309812"/>
            <a:ext cx="3182027" cy="3959225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E9DBFD9-3E1E-4F19-AF15-56780F9C79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56100" y="2309812"/>
            <a:ext cx="7253288" cy="3959223"/>
          </a:xfrm>
        </p:spPr>
        <p:txBody>
          <a:bodyPr anchor="t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5216" y="2019300"/>
            <a:ext cx="3182112" cy="0"/>
          </a:xfrm>
          <a:prstGeom prst="line">
            <a:avLst/>
          </a:prstGeom>
          <a:ln w="2857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9D8AF80-CAD5-4055-80AD-0B31EBCB52A9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1A9F7D-F14E-4BCE-9EB4-D9EF47B67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4354523" y="2019300"/>
            <a:ext cx="7254865" cy="0"/>
          </a:xfrm>
          <a:prstGeom prst="line">
            <a:avLst/>
          </a:prstGeom>
          <a:ln w="19050">
            <a:solidFill>
              <a:schemeClr val="tx1">
                <a:alpha val="30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3540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1272">
          <p15:clr>
            <a:srgbClr val="5ACBF0"/>
          </p15:clr>
        </p15:guide>
        <p15:guide id="30" pos="2376">
          <p15:clr>
            <a:srgbClr val="5ACBF0"/>
          </p15:clr>
        </p15:guide>
        <p15:guide id="32" orient="horz" pos="1455">
          <p15:clr>
            <a:srgbClr val="5ACBF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585788"/>
            <a:ext cx="3182027" cy="568325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41888" y="585788"/>
            <a:ext cx="6667500" cy="5683249"/>
          </a:xfrm>
        </p:spPr>
        <p:txBody>
          <a:bodyPr anchor="ctr"/>
          <a:lstStyle>
            <a:lvl1pPr marL="231775" indent="-231775">
              <a:spcAft>
                <a:spcPts val="600"/>
              </a:spcAft>
              <a:buFont typeface="Wingdings" panose="05000000000000000000" pitchFamily="2" charset="2"/>
              <a:buChar char="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356100" y="2578100"/>
            <a:ext cx="0" cy="1701800"/>
          </a:xfrm>
          <a:prstGeom prst="line">
            <a:avLst/>
          </a:prstGeom>
          <a:ln w="2857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1DC2181-37AB-40A3-B61C-1DE7DBB57D63}"/>
              </a:ext>
            </a:extLst>
          </p:cNvPr>
          <p:cNvSpPr txBox="1"/>
          <p:nvPr/>
        </p:nvSpPr>
        <p:spPr>
          <a:xfrm>
            <a:off x="12355721" y="-203944"/>
            <a:ext cx="57708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000">
                <a:solidFill>
                  <a:srgbClr val="A3A3A3"/>
                </a:solidFill>
              </a:rPr>
              <a:t>ELT layout</a:t>
            </a:r>
          </a:p>
        </p:txBody>
      </p:sp>
    </p:spTree>
    <p:extLst>
      <p:ext uri="{BB962C8B-B14F-4D97-AF65-F5344CB8AC3E}">
        <p14:creationId xmlns:p14="http://schemas.microsoft.com/office/powerpoint/2010/main" val="11872063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5ACBF0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eloper Cod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636FE-845C-418D-82A1-1DA6DB73D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2D46E0-16CE-40B0-8623-F82D5D4109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1436688"/>
            <a:ext cx="12192000" cy="542131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4977AB6-1D7E-4858-A2EA-BF86577C39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668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099310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tabLst>
                <a:tab pos="344488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tabLst>
                <a:tab pos="569913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tabLst>
                <a:tab pos="8001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tabLst>
                <a:tab pos="1028700" algn="l"/>
              </a:tabLst>
              <a:defRPr sz="2400">
                <a:solidFill>
                  <a:schemeClr val="tx1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7673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32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183676-BC0F-E531-BB19-861F27B5C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937456-4F12-F0CB-1333-D749BB364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56F2A2-6364-4FEF-D074-9FD103936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2581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Botto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390" y="1230681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2827138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827138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3491219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10092174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1776">
          <p15:clr>
            <a:srgbClr val="5ACBF0"/>
          </p15:clr>
        </p15:guide>
        <p15:guide id="5" orient="horz" pos="2197">
          <p15:clr>
            <a:srgbClr val="5ACBF0"/>
          </p15:clr>
        </p15:guide>
        <p15:guide id="6" orient="horz" pos="773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Top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EBE70E-6A93-4EB4-A189-6F9DE42CEE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0" y="0"/>
            <a:ext cx="12192000" cy="4030862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845FFD-6B9A-4013-932A-5E4D7E84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224580"/>
            <a:ext cx="11018520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0E9A2E28-037B-FA4D-ADDC-1AFA11D65C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3788358" cy="446148"/>
          </a:xfrm>
          <a:gradFill flip="none" rotWithShape="1">
            <a:gsLst>
              <a:gs pos="0">
                <a:srgbClr val="000000"/>
              </a:gs>
              <a:gs pos="92000">
                <a:srgbClr val="000000"/>
              </a:gs>
              <a:gs pos="92000">
                <a:schemeClr val="accent1"/>
              </a:gs>
            </a:gsLst>
            <a:lin ang="16200000" scaled="1"/>
            <a:tileRect/>
          </a:gradFill>
        </p:spPr>
        <p:txBody>
          <a:bodyPr lIns="585216" tIns="91440" bIns="4572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389" y="660508"/>
            <a:ext cx="11018520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000000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17F8BB-3610-1A4F-9E76-B12E706A55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1152" y="4996505"/>
            <a:ext cx="11018520" cy="369332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  <a:lvl2pPr marL="228531" indent="0">
              <a:buNone/>
              <a:defRPr sz="240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10043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4" orient="horz" pos="2661">
          <p15:clr>
            <a:srgbClr val="5ACBF0"/>
          </p15:clr>
        </p15:guide>
        <p15:guide id="5" orient="horz" pos="3147">
          <p15:clr>
            <a:srgbClr val="5ACBF0"/>
          </p15:clr>
        </p15:guide>
        <p15:guide id="6" orient="horz" pos="419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ight s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2BB27-7DA5-4478-8C18-C1FFEE20A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457200"/>
            <a:ext cx="4040887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8965" y="1338139"/>
            <a:ext cx="4040185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205984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11763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00725" y="709187"/>
            <a:ext cx="5801961" cy="369332"/>
          </a:xfrm>
        </p:spPr>
        <p:txBody>
          <a:bodyPr/>
          <a:lstStyle>
            <a:lvl1pPr marL="0" indent="0">
              <a:buNone/>
              <a:tabLst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</p:spTree>
    <p:extLst>
      <p:ext uri="{BB962C8B-B14F-4D97-AF65-F5344CB8AC3E}">
        <p14:creationId xmlns:p14="http://schemas.microsoft.com/office/powerpoint/2010/main" val="8385375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45">
          <p15:clr>
            <a:srgbClr val="5ACBF0"/>
          </p15:clr>
        </p15:guide>
        <p15:guide id="4" orient="horz" pos="843">
          <p15:clr>
            <a:srgbClr val="5ACBF0"/>
          </p15:clr>
        </p15:guide>
        <p15:guide id="7" pos="3283">
          <p15:clr>
            <a:srgbClr val="5ACBF0"/>
          </p15:clr>
        </p15:guide>
        <p15:guide id="8" pos="3654">
          <p15:clr>
            <a:srgbClr val="5ACBF0"/>
          </p15:clr>
        </p15:guide>
        <p15:guide id="9" pos="2916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Left s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316165A-5926-4F59-B348-996936FBB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-2" y="0"/>
            <a:ext cx="6986016" cy="685800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FFFFFF"/>
              </a:soli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B14A7D-C409-4A7C-9D82-A2E5DBB8A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5549" y="457200"/>
            <a:ext cx="4031233" cy="492443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0D599919-A8E3-4D2B-86CF-50C6704F17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" y="0"/>
            <a:ext cx="3788358" cy="492314"/>
          </a:xfrm>
          <a:gradFill flip="none" rotWithShape="1">
            <a:gsLst>
              <a:gs pos="0">
                <a:srgbClr val="000000"/>
              </a:gs>
              <a:gs pos="99000">
                <a:srgbClr val="000000"/>
              </a:gs>
              <a:gs pos="99000">
                <a:schemeClr val="accent1"/>
              </a:gs>
            </a:gsLst>
            <a:lin ang="10800000" scaled="1"/>
            <a:tileRect/>
          </a:gradFill>
        </p:spPr>
        <p:txBody>
          <a:bodyPr lIns="585216" tIns="91440" bIns="91440"/>
          <a:lstStyle>
            <a:lvl1pPr marL="0" indent="0">
              <a:buNone/>
              <a:defRPr sz="1999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nter title</a:t>
            </a:r>
          </a:p>
        </p:txBody>
      </p:sp>
      <p:sp>
        <p:nvSpPr>
          <p:cNvPr id="13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47501FD0-A948-CC48-8B11-3BD4F2AE4E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199" y="706011"/>
            <a:ext cx="5819775" cy="369332"/>
          </a:xfrm>
        </p:spPr>
        <p:txBody>
          <a:bodyPr/>
          <a:lstStyle>
            <a:lvl1pPr marL="0" indent="0">
              <a:buNone/>
              <a:defRPr sz="2400">
                <a:solidFill>
                  <a:srgbClr val="2F2F2F"/>
                </a:soli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49" indent="0">
              <a:buNone/>
              <a:defRPr sz="23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32" indent="0">
              <a:buNone/>
              <a:defRPr sz="19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319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682" indent="0">
              <a:buNone/>
              <a:defRPr sz="1799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or paste cod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BB818A5-4223-0847-B6E2-655C7DC7B6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5550" y="1336675"/>
            <a:ext cx="4033838" cy="369332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400" b="0" i="0" baseline="0">
                <a:solidFill>
                  <a:schemeClr val="tx1"/>
                </a:solidFill>
                <a:latin typeface="Segoe Sans Display" pitchFamily="2" charset="0"/>
                <a:cs typeface="Segoe Sans Display" pitchFamily="2" charset="0"/>
              </a:defRPr>
            </a:lvl1pPr>
            <a:lvl2pPr marL="0" indent="0">
              <a:lnSpc>
                <a:spcPct val="100000"/>
              </a:lnSpc>
              <a:spcBef>
                <a:spcPts val="60"/>
              </a:spcBef>
              <a:spcAft>
                <a:spcPts val="60"/>
              </a:spcAft>
              <a:buNone/>
              <a:defRPr sz="2400" b="0" i="0">
                <a:solidFill>
                  <a:srgbClr val="2F2F2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457063" indent="0">
              <a:buNone/>
              <a:defRPr/>
            </a:lvl3pPr>
            <a:lvl4pPr marL="685594" indent="0">
              <a:buNone/>
              <a:defRPr/>
            </a:lvl4pPr>
            <a:lvl5pPr marL="914126" indent="0"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45572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436">
          <p15:clr>
            <a:srgbClr val="5ACBF0"/>
          </p15:clr>
        </p15:guide>
        <p15:guide id="4" orient="horz" pos="839">
          <p15:clr>
            <a:srgbClr val="5ACBF0"/>
          </p15:clr>
        </p15:guide>
        <p15:guide id="6" pos="4402">
          <p15:clr>
            <a:srgbClr val="5ACBF0"/>
          </p15:clr>
        </p15:guide>
        <p15:guide id="7" pos="4034">
          <p15:clr>
            <a:srgbClr val="5ACBF0"/>
          </p15:clr>
        </p15:guide>
        <p15:guide id="8" pos="4772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41772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417728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5D5F20BF-1B1B-50CA-191C-F2202EAF5B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tx2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981998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360">
          <p15:clr>
            <a:srgbClr val="5ACBF0"/>
          </p15:clr>
        </p15:guide>
        <p15:guide id="6" pos="3000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41772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417728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10" name="Picture 9" descr="A person with curly hair standing in brightly illuminating outdoor light and shadows">
            <a:extLst>
              <a:ext uri="{FF2B5EF4-FFF2-40B4-BE49-F238E27FC236}">
                <a16:creationId xmlns:a16="http://schemas.microsoft.com/office/drawing/2014/main" id="{2E82545A-FD52-D775-7812-AC95C1735C2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213" r="21311"/>
          <a:stretch/>
        </p:blipFill>
        <p:spPr>
          <a:xfrm>
            <a:off x="5334000" y="0"/>
            <a:ext cx="6858000" cy="6858000"/>
          </a:xfrm>
          <a:prstGeom prst="roundRect">
            <a:avLst>
              <a:gd name="adj" fmla="val 0"/>
            </a:avLst>
          </a:prstGeom>
        </p:spPr>
      </p:pic>
    </p:spTree>
    <p:extLst>
      <p:ext uri="{BB962C8B-B14F-4D97-AF65-F5344CB8AC3E}">
        <p14:creationId xmlns:p14="http://schemas.microsoft.com/office/powerpoint/2010/main" val="2382193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360">
          <p15:clr>
            <a:srgbClr val="5ACBF0"/>
          </p15:clr>
        </p15:guide>
        <p15:guide id="6" pos="3000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41772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417728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270AE3-8618-7645-AE3C-5E57E3BF17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6036" y="302036"/>
            <a:ext cx="6251164" cy="6251164"/>
          </a:xfrm>
          <a:prstGeom prst="roundRect">
            <a:avLst>
              <a:gd name="adj" fmla="val 2595"/>
            </a:avLst>
          </a:prstGeom>
        </p:spPr>
      </p:pic>
    </p:spTree>
    <p:extLst>
      <p:ext uri="{BB962C8B-B14F-4D97-AF65-F5344CB8AC3E}">
        <p14:creationId xmlns:p14="http://schemas.microsoft.com/office/powerpoint/2010/main" val="1106010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360">
          <p15:clr>
            <a:srgbClr val="5ACBF0"/>
          </p15:clr>
        </p15:guide>
        <p15:guide id="6" pos="3000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 slide 4"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4177284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4177284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4" name="Picture 3" descr="A person with white beard and hat&#10;&#10;Description automatically generated">
            <a:extLst>
              <a:ext uri="{FF2B5EF4-FFF2-40B4-BE49-F238E27FC236}">
                <a16:creationId xmlns:a16="http://schemas.microsoft.com/office/drawing/2014/main" id="{6114E386-90DD-2D33-E4EE-56C7BEC347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32DA8AD-FBCB-B320-7C32-5B6DFD8E5B66}"/>
              </a:ext>
            </a:extLst>
          </p:cNvPr>
          <p:cNvSpPr/>
          <p:nvPr/>
        </p:nvSpPr>
        <p:spPr bwMode="auto">
          <a:xfrm>
            <a:off x="0" y="-1"/>
            <a:ext cx="5334000" cy="6857999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chemeClr val="bg1">
                  <a:shade val="100000"/>
                  <a:satMod val="115000"/>
                  <a:alpha val="22143"/>
                </a:schemeClr>
              </a:gs>
            </a:gsLst>
            <a:lin ang="270000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3390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  <p15:guide id="5" pos="3360">
          <p15:clr>
            <a:srgbClr val="5ACBF0"/>
          </p15:clr>
        </p15:guide>
        <p15:guide id="6" pos="3000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C1E8B5B3-E911-FA3B-060D-08ACEFE48A2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5334000" y="0"/>
            <a:ext cx="6858000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237744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736405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0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pos="3000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11608B-3482-A33C-BA63-70C5869A2AC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1" y="0"/>
            <a:ext cx="6858000" cy="686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512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0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pos="300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C38A8C-4194-5C96-5111-9AE84003E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1250D0-2696-2F9A-A61D-456B2C25A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E45DF3-B05D-8EA0-01BA-8B7DD499DA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4D1BE7-DC47-B470-159B-9E29E5E00C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134FDF-48D2-901F-02C3-10E3387FD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1AA83E-8488-1FFA-1FC4-1745AA9E74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282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F67BE8-1773-C479-4149-41024CAFA3D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81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0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pos="3000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4" name="Picture 3" descr="A close-up of a colorful wave&#10;&#10;Description automatically generated">
            <a:extLst>
              <a:ext uri="{FF2B5EF4-FFF2-40B4-BE49-F238E27FC236}">
                <a16:creationId xmlns:a16="http://schemas.microsoft.com/office/drawing/2014/main" id="{7E23DEF3-55CD-9793-23E4-712C6621B7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34000" y="0"/>
            <a:ext cx="68566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710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0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pos="3000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B8FDC08-6E01-3B36-160B-ED2547ADF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60495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6">
    <p:bg>
      <p:bgPr>
        <a:solidFill>
          <a:srgbClr val="2A44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B8FDC08-6E01-3B36-160B-ED2547ADF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0759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 7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B8FDC08-6E01-3B36-160B-ED2547ADF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4178808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Sans Display" pitchFamily="2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5460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2901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352260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9694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01763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Graphi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BC87E-4CC9-0F44-6DF9-7F6E2A043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532" y="1008742"/>
            <a:ext cx="10363918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2155222B-26E4-2F43-D7F5-FC045289128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3382" y="2017712"/>
            <a:ext cx="10364218" cy="4251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9DBCD25-6DFA-052F-4ED9-1E8C8737F9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3532" y="843642"/>
            <a:ext cx="10363918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40599598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95C066-A88E-97CC-28C1-2A4613D53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43FD7A3-266C-2FD9-F46B-84966DD170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19522F-0E39-5ABA-7028-F27C76352A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A3BE16-CE53-587E-982B-BECFE3451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75A96F-89D2-8F21-0499-B61B49ABB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ED0544-FA0A-6A52-B49A-DC1382EC2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2031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Graphic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6318D53-3286-EAEB-3098-F1081AF276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5000"/>
                    </a14:imgEffect>
                  </a14:imgLayer>
                </a14:imgProps>
              </a:ext>
            </a:extLst>
          </a:blip>
          <a:srcRect t="48" b="48"/>
          <a:stretch/>
        </p:blipFill>
        <p:spPr>
          <a:xfrm>
            <a:off x="578642" y="588018"/>
            <a:ext cx="11033446" cy="5681964"/>
          </a:xfrm>
          <a:prstGeom prst="roundRect">
            <a:avLst>
              <a:gd name="adj" fmla="val 2183"/>
            </a:avLst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AD825C2-7FF1-3371-96A7-47B946637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532" y="1008742"/>
            <a:ext cx="10363918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DFB201-BF2E-7E3A-CE08-CB33082FCE6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3382" y="2017712"/>
            <a:ext cx="10364218" cy="4251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83B56F-81D2-3B74-659E-75EE6D1D48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3532" y="843642"/>
            <a:ext cx="10363918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12233341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Graphic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B6B235D-925E-935A-C0D1-66A1BCB69698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10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9" r="29"/>
          <a:stretch/>
        </p:blipFill>
        <p:spPr>
          <a:xfrm>
            <a:off x="578642" y="588018"/>
            <a:ext cx="11033446" cy="5681964"/>
          </a:xfrm>
          <a:prstGeom prst="roundRect">
            <a:avLst>
              <a:gd name="adj" fmla="val 2183"/>
            </a:avLst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8A31E95-ADF9-9E3F-1324-0D2A40C31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532" y="1008742"/>
            <a:ext cx="10363918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55F23D6-B0F2-95EC-6A60-E33F63B0399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13382" y="2017712"/>
            <a:ext cx="10364218" cy="4251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1A9544-8C8F-F52A-1876-F01F4D0915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3532" y="843642"/>
            <a:ext cx="10363918" cy="153888"/>
          </a:xfrm>
        </p:spPr>
        <p:txBody>
          <a:bodyPr/>
          <a:lstStyle>
            <a:lvl1pPr marL="0" indent="0">
              <a:buNone/>
              <a:defRPr sz="1000" cap="all" baseline="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eyebrow style</a:t>
            </a:r>
          </a:p>
        </p:txBody>
      </p:sp>
    </p:spTree>
    <p:extLst>
      <p:ext uri="{BB962C8B-B14F-4D97-AF65-F5344CB8AC3E}">
        <p14:creationId xmlns:p14="http://schemas.microsoft.com/office/powerpoint/2010/main" val="2679172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Numb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E53C62E-72E5-F065-0EA5-5455A61A1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823" y="1778853"/>
            <a:ext cx="7896354" cy="2462213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6000">
                <a:latin typeface="+mn-lt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1FDE9D-CE47-EE58-DDEB-A4E2C9956F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6300" y="4253885"/>
            <a:ext cx="7899400" cy="246221"/>
          </a:xfrm>
        </p:spPr>
        <p:txBody>
          <a:bodyPr/>
          <a:lstStyle>
            <a:lvl1pPr marL="0" indent="0" algn="ctr">
              <a:buNone/>
              <a:defRPr sz="16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subtext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483921F1-D334-EC88-D639-C6492418B9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6300" y="5384185"/>
            <a:ext cx="7899400" cy="153888"/>
          </a:xfrm>
        </p:spPr>
        <p:txBody>
          <a:bodyPr/>
          <a:lstStyle>
            <a:lvl1pPr marL="0" indent="0" algn="ctr">
              <a:buNone/>
              <a:defRPr sz="10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footer style</a:t>
            </a:r>
          </a:p>
        </p:txBody>
      </p:sp>
    </p:spTree>
    <p:extLst>
      <p:ext uri="{BB962C8B-B14F-4D97-AF65-F5344CB8AC3E}">
        <p14:creationId xmlns:p14="http://schemas.microsoft.com/office/powerpoint/2010/main" val="3306860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2">
          <p15:clr>
            <a:srgbClr val="A4A3A4"/>
          </p15:clr>
        </p15:guide>
        <p15:guide id="24" pos="6120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888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Numb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4CD05008-D889-2657-9E64-AE1A68432B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823" y="1778853"/>
            <a:ext cx="7896354" cy="2462213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6000">
                <a:latin typeface="+mn-lt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B90B9417-A140-ED0E-9B15-EC46E43520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6300" y="4253885"/>
            <a:ext cx="7899400" cy="246221"/>
          </a:xfrm>
        </p:spPr>
        <p:txBody>
          <a:bodyPr/>
          <a:lstStyle>
            <a:lvl1pPr marL="0" indent="0" algn="ctr">
              <a:buNone/>
              <a:defRPr sz="16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subtext sty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E6AC568-C052-9C82-938A-92DB6B485D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6300" y="5384185"/>
            <a:ext cx="7899400" cy="153888"/>
          </a:xfrm>
        </p:spPr>
        <p:txBody>
          <a:bodyPr/>
          <a:lstStyle>
            <a:lvl1pPr marL="0" indent="0" algn="ctr">
              <a:buNone/>
              <a:defRPr sz="10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footer style</a:t>
            </a:r>
          </a:p>
        </p:txBody>
      </p:sp>
    </p:spTree>
    <p:extLst>
      <p:ext uri="{BB962C8B-B14F-4D97-AF65-F5344CB8AC3E}">
        <p14:creationId xmlns:p14="http://schemas.microsoft.com/office/powerpoint/2010/main" val="995871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Numb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F1F03AAB-35E4-75D5-BC32-B2CE3D9364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823" y="1778853"/>
            <a:ext cx="7896354" cy="2462213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6000">
                <a:latin typeface="+mn-lt"/>
              </a:defRPr>
            </a:lvl1pPr>
          </a:lstStyle>
          <a:p>
            <a:r>
              <a:rPr lang="en-US"/>
              <a:t>##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1F2F5D4-3A80-B49A-353F-38D18DF589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46300" y="4253885"/>
            <a:ext cx="7899400" cy="246221"/>
          </a:xfrm>
        </p:spPr>
        <p:txBody>
          <a:bodyPr/>
          <a:lstStyle>
            <a:lvl1pPr marL="0" indent="0" algn="ctr">
              <a:buNone/>
              <a:defRPr sz="16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subtext sty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7DA8D6A-DC14-6890-FE2C-FDB67210F3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46300" y="5384185"/>
            <a:ext cx="7899400" cy="153888"/>
          </a:xfrm>
        </p:spPr>
        <p:txBody>
          <a:bodyPr/>
          <a:lstStyle>
            <a:lvl1pPr marL="0" indent="0" algn="ctr">
              <a:buNone/>
              <a:defRPr sz="1000"/>
            </a:lvl1pPr>
            <a:lvl2pPr marL="228600" indent="0" algn="ctr">
              <a:buNone/>
              <a:defRPr/>
            </a:lvl2pPr>
            <a:lvl3pPr marL="457200" indent="0" algn="ctr">
              <a:buNone/>
              <a:defRPr/>
            </a:lvl3pPr>
            <a:lvl4pPr marL="661988" indent="0" algn="ctr">
              <a:buNone/>
              <a:defRPr/>
            </a:lvl4pPr>
            <a:lvl5pPr marL="855663" indent="0" algn="ctr">
              <a:buNone/>
              <a:defRPr/>
            </a:lvl5pPr>
          </a:lstStyle>
          <a:p>
            <a:pPr lvl="0"/>
            <a:r>
              <a:rPr lang="en-US"/>
              <a:t>Click to edit footer style</a:t>
            </a:r>
          </a:p>
        </p:txBody>
      </p:sp>
    </p:spTree>
    <p:extLst>
      <p:ext uri="{BB962C8B-B14F-4D97-AF65-F5344CB8AC3E}">
        <p14:creationId xmlns:p14="http://schemas.microsoft.com/office/powerpoint/2010/main" val="3255372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60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61">
          <p15:clr>
            <a:srgbClr val="A4A3A4"/>
          </p15:clr>
        </p15:guide>
        <p15:guide id="15" pos="3348">
          <p15:clr>
            <a:srgbClr val="A4A3A4"/>
          </p15:clr>
        </p15:guide>
        <p15:guide id="16" pos="3754">
          <p15:clr>
            <a:srgbClr val="A4A3A4"/>
          </p15:clr>
        </p15:guide>
        <p15:guide id="17" pos="3931">
          <p15:clr>
            <a:srgbClr val="A4A3A4"/>
          </p15:clr>
        </p15:guide>
        <p15:guide id="18" pos="4342">
          <p15:clr>
            <a:srgbClr val="A4A3A4"/>
          </p15:clr>
        </p15:guide>
        <p15:guide id="19" pos="4531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728B26F-D58F-C59C-79A9-B632CC130CA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25569"/>
            <a:ext cx="12192000" cy="19324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C7EB123-B336-56F7-07B9-7157FE92A3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830" y="3121223"/>
            <a:ext cx="5958557" cy="307777"/>
          </a:xfrm>
        </p:spPr>
        <p:txBody>
          <a:bodyPr anchor="b" anchorCtr="0"/>
          <a:lstStyle>
            <a:lvl1pPr>
              <a:defRPr sz="2000">
                <a:latin typeface="+mn-lt"/>
              </a:defRPr>
            </a:lvl1pPr>
          </a:lstStyle>
          <a:p>
            <a:r>
              <a:rPr lang="en-US"/>
              <a:t>Click to edit quot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7E51B3-B187-5510-113C-862CE543F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1500" y="3647032"/>
            <a:ext cx="5957887" cy="246221"/>
          </a:xfrm>
        </p:spPr>
        <p:txBody>
          <a:bodyPr/>
          <a:lstStyle>
            <a:lvl1pPr marL="0" indent="0" algn="r">
              <a:buNone/>
              <a:defRPr sz="1600"/>
            </a:lvl1pPr>
          </a:lstStyle>
          <a:p>
            <a:pPr lvl="0"/>
            <a:r>
              <a:rPr lang="en-US"/>
              <a:t>Quote author, Title, Organization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4F713963-A5EA-2AC4-41B1-2A1162C6E1A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7505699" y="1371600"/>
            <a:ext cx="4114800" cy="4114800"/>
          </a:xfrm>
          <a:prstGeom prst="roundRect">
            <a:avLst>
              <a:gd name="adj" fmla="val 2602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0" tIns="11887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1">
                <a:solidFill>
                  <a:schemeClr val="tx1"/>
                </a:solidFill>
                <a:latin typeface="+mn-lt"/>
                <a:cs typeface="Segoe Sans Display" pitchFamily="2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pic>
        <p:nvPicPr>
          <p:cNvPr id="8" name="Graphic 7" descr="Quote mark">
            <a:extLst>
              <a:ext uri="{FF2B5EF4-FFF2-40B4-BE49-F238E27FC236}">
                <a16:creationId xmlns:a16="http://schemas.microsoft.com/office/drawing/2014/main" id="{64077A7A-76A3-4EA6-6BF5-2CFADD74DE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570830" y="585788"/>
            <a:ext cx="674370" cy="587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1438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528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EB123-B336-56F7-07B9-7157FE92A3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9561" y="3159323"/>
            <a:ext cx="5958557" cy="307777"/>
          </a:xfrm>
        </p:spPr>
        <p:txBody>
          <a:bodyPr anchor="b" anchorCtr="0"/>
          <a:lstStyle>
            <a:lvl1pPr>
              <a:defRPr sz="2000">
                <a:latin typeface="+mn-lt"/>
              </a:defRPr>
            </a:lvl1pPr>
          </a:lstStyle>
          <a:p>
            <a:r>
              <a:rPr lang="en-US"/>
              <a:t>Click to edit quot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17E51B3-B187-5510-113C-862CE543F9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49561" y="3647032"/>
            <a:ext cx="5957887" cy="246221"/>
          </a:xfrm>
        </p:spPr>
        <p:txBody>
          <a:bodyPr/>
          <a:lstStyle>
            <a:lvl1pPr marL="0" indent="0" algn="r">
              <a:buNone/>
              <a:defRPr sz="1600"/>
            </a:lvl1pPr>
          </a:lstStyle>
          <a:p>
            <a:pPr lvl="0"/>
            <a:r>
              <a:rPr lang="en-US"/>
              <a:t>Quote author, Title, Organization</a:t>
            </a:r>
          </a:p>
        </p:txBody>
      </p:sp>
      <p:pic>
        <p:nvPicPr>
          <p:cNvPr id="8" name="Graphic 7" descr="Quote mark">
            <a:extLst>
              <a:ext uri="{FF2B5EF4-FFF2-40B4-BE49-F238E27FC236}">
                <a16:creationId xmlns:a16="http://schemas.microsoft.com/office/drawing/2014/main" id="{64077A7A-76A3-4EA6-6BF5-2CFADD74DE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571500" y="585788"/>
            <a:ext cx="674370" cy="587754"/>
          </a:xfrm>
          <a:prstGeom prst="rect">
            <a:avLst/>
          </a:prstGeom>
        </p:spPr>
      </p:pic>
      <p:pic>
        <p:nvPicPr>
          <p:cNvPr id="3" name="Graphic 2" descr="Quote mark">
            <a:extLst>
              <a:ext uri="{FF2B5EF4-FFF2-40B4-BE49-F238E27FC236}">
                <a16:creationId xmlns:a16="http://schemas.microsoft.com/office/drawing/2014/main" id="{3884F2AA-E820-B43C-3C64-DA0CC8A699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4846" y="5845760"/>
            <a:ext cx="485654" cy="423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0459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84">
          <p15:clr>
            <a:srgbClr val="FBAE40"/>
          </p15:clr>
        </p15:guide>
        <p15:guide id="2" pos="3528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pt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93FD22E-D362-78A6-2219-103E4138CA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471" y="222068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ED89376E-3BB0-0414-9125-A137EF9F4E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17471" y="331796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D545552-38C6-59C4-C664-F1E24F0794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7471" y="4415245"/>
            <a:ext cx="3991884" cy="663178"/>
          </a:xfrm>
          <a:prstGeom prst="roundRect">
            <a:avLst>
              <a:gd name="adj" fmla="val 12775"/>
            </a:avLst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12700">
            <a:solidFill>
              <a:schemeClr val="bg1"/>
            </a:solidFill>
          </a:ln>
        </p:spPr>
        <p:txBody>
          <a:bodyPr wrap="none" lIns="182880" tIns="91440" rIns="182880" bIns="91440" anchor="ctr" anchorCtr="0"/>
          <a:lstStyle>
            <a:lvl1pPr marL="0" indent="0" algn="ctr">
              <a:buNone/>
              <a:defRPr/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53A433-F2D5-7B5B-B3BD-45E3929D6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436606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 descr="This is a copyright notice that should be included on the final slide."/>
          <p:cNvSpPr txBox="1">
            <a:spLocks noChangeArrowheads="1"/>
          </p:cNvSpPr>
          <p:nvPr/>
        </p:nvSpPr>
        <p:spPr bwMode="blackWhite">
          <a:xfrm>
            <a:off x="584200" y="6053594"/>
            <a:ext cx="4482124" cy="21544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solidFill>
                  <a:schemeClr val="tx1"/>
                </a:solidFill>
                <a:cs typeface="Segoe Sans Display" pitchFamily="2" charset="0"/>
              </a:rPr>
              <a:t>© Copyright Microsoft y</a:t>
            </a:r>
          </a:p>
          <a:p>
            <a:pPr defTabSz="932290" eaLnBrk="0" hangingPunct="0"/>
            <a:r>
              <a:rPr lang="en-US" sz="700" err="1">
                <a:solidFill>
                  <a:schemeClr val="tx1"/>
                </a:solidFill>
                <a:cs typeface="Segoe Sans Display" pitchFamily="2" charset="0"/>
              </a:rPr>
              <a:t>poration</a:t>
            </a:r>
            <a:r>
              <a:rPr lang="en-US" sz="700">
                <a:solidFill>
                  <a:schemeClr val="tx1"/>
                </a:solidFill>
                <a:cs typeface="Segoe Sans Display" pitchFamily="2" charset="0"/>
              </a:rPr>
              <a:t>. All rights reserved. </a:t>
            </a:r>
          </a:p>
        </p:txBody>
      </p:sp>
      <p:pic>
        <p:nvPicPr>
          <p:cNvPr id="4" name="Picture 3" descr="A logo of a company&#10;&#10;Description automatically generated">
            <a:extLst>
              <a:ext uri="{FF2B5EF4-FFF2-40B4-BE49-F238E27FC236}">
                <a16:creationId xmlns:a16="http://schemas.microsoft.com/office/drawing/2014/main" id="{6D0E7ACD-25E9-7FAD-3A11-733954C79A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448" t="32535" r="14401" b="28160"/>
          <a:stretch/>
        </p:blipFill>
        <p:spPr>
          <a:xfrm>
            <a:off x="571500" y="581978"/>
            <a:ext cx="1454782" cy="343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885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solidFill>
                  <a:schemeClr val="tx1"/>
                </a:solidFill>
                <a:latin typeface="Segoe Sans Display" pitchFamily="2" charset="0"/>
                <a:ea typeface="Segoe Sans Display" pitchFamily="2" charset="0"/>
                <a:cs typeface="Segoe Sans Display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solidFill>
                  <a:srgbClr val="000000"/>
                </a:solidFill>
                <a:effectLst/>
                <a:latin typeface="Segoe Sans Display" pitchFamily="2" charset="0"/>
                <a:ea typeface="Segoe Sans Display" pitchFamily="2" charset="0"/>
                <a:cs typeface="Segoe Sans Display" pitchFamily="2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149806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63" Type="http://schemas.openxmlformats.org/officeDocument/2006/relationships/slideLayout" Target="../slideLayouts/slideLayout90.xml"/><Relationship Id="rId68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slideLayout" Target="../slideLayouts/slideLayout80.xml"/><Relationship Id="rId58" Type="http://schemas.openxmlformats.org/officeDocument/2006/relationships/slideLayout" Target="../slideLayouts/slideLayout85.xml"/><Relationship Id="rId66" Type="http://schemas.openxmlformats.org/officeDocument/2006/relationships/slideLayout" Target="../slideLayouts/slideLayout93.xml"/><Relationship Id="rId74" Type="http://schemas.openxmlformats.org/officeDocument/2006/relationships/theme" Target="../theme/theme3.xml"/><Relationship Id="rId79" Type="http://schemas.openxmlformats.org/officeDocument/2006/relationships/image" Target="../media/image7.svg"/><Relationship Id="rId5" Type="http://schemas.openxmlformats.org/officeDocument/2006/relationships/slideLayout" Target="../slideLayouts/slideLayout32.xml"/><Relationship Id="rId61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56" Type="http://schemas.openxmlformats.org/officeDocument/2006/relationships/slideLayout" Target="../slideLayouts/slideLayout83.xml"/><Relationship Id="rId64" Type="http://schemas.openxmlformats.org/officeDocument/2006/relationships/slideLayout" Target="../slideLayouts/slideLayout91.xml"/><Relationship Id="rId69" Type="http://schemas.openxmlformats.org/officeDocument/2006/relationships/slideLayout" Target="../slideLayouts/slideLayout96.xml"/><Relationship Id="rId77" Type="http://schemas.openxmlformats.org/officeDocument/2006/relationships/image" Target="../media/image5.emf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72" Type="http://schemas.openxmlformats.org/officeDocument/2006/relationships/slideLayout" Target="../slideLayouts/slideLayout99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59" Type="http://schemas.openxmlformats.org/officeDocument/2006/relationships/slideLayout" Target="../slideLayouts/slideLayout86.xml"/><Relationship Id="rId67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slideLayout" Target="../slideLayouts/slideLayout81.xml"/><Relationship Id="rId62" Type="http://schemas.openxmlformats.org/officeDocument/2006/relationships/slideLayout" Target="../slideLayouts/slideLayout89.xml"/><Relationship Id="rId70" Type="http://schemas.openxmlformats.org/officeDocument/2006/relationships/slideLayout" Target="../slideLayouts/slideLayout97.xml"/><Relationship Id="rId75" Type="http://schemas.openxmlformats.org/officeDocument/2006/relationships/tags" Target="../tags/tag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Relationship Id="rId57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Relationship Id="rId60" Type="http://schemas.openxmlformats.org/officeDocument/2006/relationships/slideLayout" Target="../slideLayouts/slideLayout87.xml"/><Relationship Id="rId65" Type="http://schemas.openxmlformats.org/officeDocument/2006/relationships/slideLayout" Target="../slideLayouts/slideLayout92.xml"/><Relationship Id="rId73" Type="http://schemas.openxmlformats.org/officeDocument/2006/relationships/slideLayout" Target="../slideLayouts/slideLayout100.xml"/><Relationship Id="rId78" Type="http://schemas.openxmlformats.org/officeDocument/2006/relationships/image" Target="../media/image6.png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34.xml"/><Relationship Id="rId71" Type="http://schemas.openxmlformats.org/officeDocument/2006/relationships/slideLayout" Target="../slideLayouts/slideLayout98.xml"/><Relationship Id="rId2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B173323-F357-4185-1845-AFFF68DEA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026A0-8C54-6019-719C-D165C7E011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137D88-A470-5D0F-B141-1E67908EB6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FCF53F1-8915-4818-A772-38DDFB291FF3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9EF8F2-1AE6-7A05-3D30-D89861615B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0C8EEC-B836-93FB-41C4-332F7C6445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6EC78ED-22FC-4598-ABA3-408BA178D9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726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CF5CD1-BD3E-DE7E-AA11-836389AAE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A9D32F-00BC-3DA8-F760-CEC948853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28DA47-DFB6-6429-43D3-2BB4EAC330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ED965E8-50AC-4D4C-AF0A-EADE88AB4754}" type="datetimeFigureOut">
              <a:rPr lang="en-US" smtClean="0"/>
              <a:t>6/19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2B6EF5-70D1-91B0-91D4-F1D32D425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D1A20-B13B-6115-3ECF-6A62028CF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D49CFF0-E731-4A8E-AFA9-05E08CF05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54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823B2A0-7548-F3ED-CE7D-848EF15F1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1780299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532" imgH="530" progId="TCLayout.ActiveDocument.1">
                  <p:embed/>
                </p:oleObj>
              </mc:Choice>
              <mc:Fallback>
                <p:oleObj name="think-cell Slide" r:id="rId76" imgW="532" imgH="53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23B2A0-7548-F3ED-CE7D-848EF15F1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Sans Display" pitchFamily="2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96DAC541-7B7A-43D3-8B79-37D633B846F1}">
                <asvg:svgBlip xmlns:asvg="http://schemas.microsoft.com/office/drawing/2016/SVG/main" r:embed="rId79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815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  <p:sldLayoutId id="2147483720" r:id="rId43"/>
    <p:sldLayoutId id="2147483721" r:id="rId44"/>
    <p:sldLayoutId id="2147483722" r:id="rId45"/>
    <p:sldLayoutId id="2147483723" r:id="rId46"/>
    <p:sldLayoutId id="2147483724" r:id="rId47"/>
    <p:sldLayoutId id="2147483725" r:id="rId48"/>
    <p:sldLayoutId id="2147483726" r:id="rId49"/>
    <p:sldLayoutId id="2147483727" r:id="rId50"/>
    <p:sldLayoutId id="2147483728" r:id="rId51"/>
    <p:sldLayoutId id="2147483729" r:id="rId52"/>
    <p:sldLayoutId id="2147483730" r:id="rId53"/>
    <p:sldLayoutId id="2147483731" r:id="rId54"/>
    <p:sldLayoutId id="2147483732" r:id="rId55"/>
    <p:sldLayoutId id="2147483733" r:id="rId56"/>
    <p:sldLayoutId id="2147483734" r:id="rId57"/>
    <p:sldLayoutId id="2147483735" r:id="rId58"/>
    <p:sldLayoutId id="2147483736" r:id="rId59"/>
    <p:sldLayoutId id="2147483737" r:id="rId60"/>
    <p:sldLayoutId id="2147483738" r:id="rId61"/>
    <p:sldLayoutId id="2147483739" r:id="rId62"/>
    <p:sldLayoutId id="2147483740" r:id="rId63"/>
    <p:sldLayoutId id="2147483741" r:id="rId64"/>
    <p:sldLayoutId id="2147483742" r:id="rId65"/>
    <p:sldLayoutId id="2147483743" r:id="rId66"/>
    <p:sldLayoutId id="2147483744" r:id="rId67"/>
    <p:sldLayoutId id="2147483745" r:id="rId68"/>
    <p:sldLayoutId id="2147483746" r:id="rId69"/>
    <p:sldLayoutId id="2147483747" r:id="rId70"/>
    <p:sldLayoutId id="2147483748" r:id="rId71"/>
    <p:sldLayoutId id="2147483749" r:id="rId72"/>
    <p:sldLayoutId id="2147483750" r:id="rId73"/>
  </p:sldLayoutIdLst>
  <p:transition>
    <p:fade/>
  </p:transition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Sans Display" pitchFamily="2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Sans Display" pitchFamily="2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  <p15:guide id="32" pos="7512">
          <p15:clr>
            <a:srgbClr val="E97132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7" Type="http://schemas.openxmlformats.org/officeDocument/2006/relationships/image" Target="../media/image9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92.png"/><Relationship Id="rId5" Type="http://schemas.openxmlformats.org/officeDocument/2006/relationships/hyperlink" Target="https://blogs.microsoft.com/on-the-issues/2023/09/07/copilot-copyright-commitment-ai-legal-concerns/" TargetMode="External"/><Relationship Id="rId4" Type="http://schemas.openxmlformats.org/officeDocument/2006/relationships/image" Target="../media/image8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hyperlink" Target="https://blogs.microsoft.com/on-the-issues/2023/09/07/copilot-copyright-commitment-ai-legal-concerns/" TargetMode="External"/><Relationship Id="rId4" Type="http://schemas.openxmlformats.org/officeDocument/2006/relationships/image" Target="../media/image9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93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13" Type="http://schemas.openxmlformats.org/officeDocument/2006/relationships/image" Target="../media/image103.jpeg"/><Relationship Id="rId3" Type="http://schemas.openxmlformats.org/officeDocument/2006/relationships/image" Target="../media/image91.png"/><Relationship Id="rId7" Type="http://schemas.openxmlformats.org/officeDocument/2006/relationships/image" Target="../media/image97.jpeg"/><Relationship Id="rId12" Type="http://schemas.openxmlformats.org/officeDocument/2006/relationships/image" Target="../media/image102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6.jpe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96.jpeg"/><Relationship Id="rId11" Type="http://schemas.openxmlformats.org/officeDocument/2006/relationships/image" Target="../media/image101.jpeg"/><Relationship Id="rId5" Type="http://schemas.openxmlformats.org/officeDocument/2006/relationships/image" Target="../media/image95.jpeg"/><Relationship Id="rId15" Type="http://schemas.openxmlformats.org/officeDocument/2006/relationships/image" Target="../media/image105.jpeg"/><Relationship Id="rId10" Type="http://schemas.openxmlformats.org/officeDocument/2006/relationships/image" Target="../media/image100.jpeg"/><Relationship Id="rId4" Type="http://schemas.openxmlformats.org/officeDocument/2006/relationships/image" Target="../media/image94.jpeg"/><Relationship Id="rId9" Type="http://schemas.openxmlformats.org/officeDocument/2006/relationships/image" Target="../media/image99.jpeg"/><Relationship Id="rId14" Type="http://schemas.openxmlformats.org/officeDocument/2006/relationships/image" Target="../media/image10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echcommunity.microsoft.com/event/microsoft365copilot-events/digital-deep-dive-copilot-control-system-ccs/4414752" TargetMode="External"/><Relationship Id="rId7" Type="http://schemas.openxmlformats.org/officeDocument/2006/relationships/hyperlink" Target="https://adoption.microsoft.com/en-us/leading-in-the-era-of-ai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6" Type="http://schemas.openxmlformats.org/officeDocument/2006/relationships/hyperlink" Target="https://adoption.microsoft.com/en-us/copilot/" TargetMode="External"/><Relationship Id="rId5" Type="http://schemas.openxmlformats.org/officeDocument/2006/relationships/hyperlink" Target="https://techcommunity.microsoft.com/blog/microsoft365copilotblog/what%E2%80%99s-new-in-microsoft-365-copilot--may-2025/4414313" TargetMode="External"/><Relationship Id="rId4" Type="http://schemas.openxmlformats.org/officeDocument/2006/relationships/hyperlink" Target="https://techcommunity.microsoft.com/category/microsoft365copilot/discussions/microsoft365copilot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0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54DDC0-0B3B-A16D-A2D1-B7F1C4E49F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F3FE738-E586-29CC-AC40-F0F907CDBD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" r="69"/>
          <a:stretch/>
        </p:blipFill>
        <p:spPr>
          <a:xfrm>
            <a:off x="13113" y="-528"/>
            <a:ext cx="12176921" cy="6859052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49A05C8-490A-0AF8-3B2B-7AC6951A8ABC}"/>
              </a:ext>
            </a:extLst>
          </p:cNvPr>
          <p:cNvGrpSpPr/>
          <p:nvPr/>
        </p:nvGrpSpPr>
        <p:grpSpPr>
          <a:xfrm>
            <a:off x="1290472" y="1980785"/>
            <a:ext cx="9921529" cy="3776481"/>
            <a:chOff x="2552369" y="3723444"/>
            <a:chExt cx="19843057" cy="755296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082822F-0F34-8FEE-4770-DA0E6A553830}"/>
                </a:ext>
              </a:extLst>
            </p:cNvPr>
            <p:cNvSpPr txBox="1"/>
            <p:nvPr/>
          </p:nvSpPr>
          <p:spPr>
            <a:xfrm>
              <a:off x="2552369" y="3723444"/>
              <a:ext cx="19843057" cy="43704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>
                  <a:solidFill>
                    <a:srgbClr val="1C9FF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Digital Deep Dive: Copilot Control System</a:t>
              </a:r>
              <a:endParaRPr lang="en-US" sz="1000">
                <a:solidFill>
                  <a:srgbClr val="1C9FF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br>
                <a:rPr lang="en-US" sz="1000"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480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What’s next for your</a:t>
              </a:r>
              <a:br>
                <a:rPr lang="en-US" sz="4800">
                  <a:latin typeface="Segoe UI Semibold" panose="020B0702040204020203" pitchFamily="34" charset="0"/>
                  <a:cs typeface="Segoe UI Semibold" panose="020B0702040204020203" pitchFamily="34" charset="0"/>
                </a:rPr>
              </a:br>
              <a:r>
                <a:rPr lang="en-US" sz="480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Copilot Control System journey</a:t>
              </a:r>
            </a:p>
          </p:txBody>
        </p:sp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32F1E412-89CC-200C-4F9B-CFBD5309BD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697420" y="8845234"/>
              <a:ext cx="2431171" cy="2431171"/>
            </a:xfrm>
            <a:prstGeom prst="ellipse">
              <a:avLst/>
            </a:prstGeom>
            <a:noFill/>
            <a:ln w="76200">
              <a:solidFill>
                <a:schemeClr val="bg1"/>
              </a:solidFill>
            </a:ln>
            <a:effectLst>
              <a:outerShdw blurRad="355600" dist="139700" dir="5400000" sx="94000" sy="94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ED84F5-7ABB-AC14-47D5-7ED73C973D4E}"/>
                </a:ext>
              </a:extLst>
            </p:cNvPr>
            <p:cNvSpPr txBox="1"/>
            <p:nvPr/>
          </p:nvSpPr>
          <p:spPr>
            <a:xfrm>
              <a:off x="5651175" y="9245211"/>
              <a:ext cx="10354801" cy="1661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Efe </a:t>
              </a:r>
              <a:r>
                <a:rPr lang="en-US" sz="3000" err="1">
                  <a:latin typeface="Segoe UI Semibold" panose="020B0702040204020203" pitchFamily="34" charset="0"/>
                  <a:cs typeface="Segoe UI Semibold" panose="020B0702040204020203" pitchFamily="34" charset="0"/>
                </a:rPr>
                <a:t>Abugo</a:t>
              </a:r>
              <a:endParaRPr lang="en-US" sz="3000"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  <a:p>
              <a:r>
                <a:rPr lang="en-US">
                  <a:latin typeface="Segoe UI" panose="020B0502040204020203" pitchFamily="34" charset="0"/>
                  <a:cs typeface="Segoe UI" panose="020B0502040204020203" pitchFamily="34" charset="0"/>
                </a:rPr>
                <a:t>Microsoft 365 Copilo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8254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FA68A8-13EC-792D-46AD-0E76A42596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7DFFD3AA-8345-C899-49B3-2CAD725BA8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BCF94A8-0384-79C7-7308-B821DE7E01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hq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8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3055" r="305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83CDCD1-7A58-6907-3388-A461118149F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275442"/>
              <a:ext cx="12191998" cy="5582558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  <p:sp>
          <p:nvSpPr>
            <p:cNvPr id="40" name="Graphic 34_1">
              <a:extLst>
                <a:ext uri="{FF2B5EF4-FFF2-40B4-BE49-F238E27FC236}">
                  <a16:creationId xmlns:a16="http://schemas.microsoft.com/office/drawing/2014/main" id="{32767678-8737-49B9-21E3-EA43AD633C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" y="1275442"/>
              <a:ext cx="12191998" cy="0"/>
            </a:xfrm>
            <a:custGeom>
              <a:avLst/>
              <a:gdLst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4" fmla="*/ 0 w 12191998"/>
                <a:gd name="connsiteY4" fmla="*/ 0 h 863854"/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4" fmla="*/ 91440 w 12191998"/>
                <a:gd name="connsiteY4" fmla="*/ 91440 h 863854"/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0" fmla="*/ 12191998 w 12191998"/>
                <a:gd name="connsiteY0" fmla="*/ 0 h 863854"/>
                <a:gd name="connsiteX1" fmla="*/ 12191998 w 12191998"/>
                <a:gd name="connsiteY1" fmla="*/ 863854 h 863854"/>
                <a:gd name="connsiteX2" fmla="*/ 0 w 12191998"/>
                <a:gd name="connsiteY2" fmla="*/ 863854 h 863854"/>
                <a:gd name="connsiteX0" fmla="*/ 12191998 w 12191998"/>
                <a:gd name="connsiteY0" fmla="*/ 0 h 0"/>
                <a:gd name="connsiteX1" fmla="*/ 0 w 1219199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1998">
                  <a:moveTo>
                    <a:pt x="12191998" y="0"/>
                  </a:moveTo>
                  <a:lnTo>
                    <a:pt x="0" y="0"/>
                  </a:lnTo>
                </a:path>
              </a:pathLst>
            </a:custGeom>
            <a:noFill/>
            <a:ln w="50800">
              <a:gradFill flip="none" rotWithShape="1">
                <a:gsLst>
                  <a:gs pos="0">
                    <a:srgbClr val="FFA38B">
                      <a:lumMod val="98000"/>
                    </a:srgbClr>
                  </a:gs>
                  <a:gs pos="35000">
                    <a:srgbClr val="D361FF"/>
                  </a:gs>
                  <a:gs pos="70000">
                    <a:srgbClr val="2CB1FE"/>
                  </a:gs>
                  <a:gs pos="100000">
                    <a:schemeClr val="accent1"/>
                  </a:gs>
                </a:gsLst>
                <a:lin ang="10800000" scaled="1"/>
                <a:tileRect/>
              </a:gra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3C745FDC-73D3-F507-3C8E-669B1A03101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259568" y="1541234"/>
            <a:ext cx="1676040" cy="167603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70%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A581827-B262-FEE7-DB45-3ABCB13BB3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360455" y="2436584"/>
            <a:ext cx="3474266" cy="3981011"/>
            <a:chOff x="4360454" y="2349500"/>
            <a:chExt cx="3474266" cy="3981011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C8F35726-53C2-BBC5-EBF2-118B3F742B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2434" t="98557" r="65625"/>
            <a:stretch>
              <a:fillRect/>
            </a:stretch>
          </p:blipFill>
          <p:spPr>
            <a:xfrm flipH="1">
              <a:off x="4562474" y="6269037"/>
              <a:ext cx="3070226" cy="61474"/>
            </a:xfrm>
            <a:custGeom>
              <a:avLst/>
              <a:gdLst>
                <a:gd name="connsiteX0" fmla="*/ 3070226 w 3070226"/>
                <a:gd name="connsiteY0" fmla="*/ 0 h 61474"/>
                <a:gd name="connsiteX1" fmla="*/ 2061029 w 3070226"/>
                <a:gd name="connsiteY1" fmla="*/ 0 h 61474"/>
                <a:gd name="connsiteX2" fmla="*/ 1009198 w 3070226"/>
                <a:gd name="connsiteY2" fmla="*/ 0 h 61474"/>
                <a:gd name="connsiteX3" fmla="*/ 1009197 w 3070226"/>
                <a:gd name="connsiteY3" fmla="*/ 0 h 61474"/>
                <a:gd name="connsiteX4" fmla="*/ 826317 w 3070226"/>
                <a:gd name="connsiteY4" fmla="*/ 0 h 61474"/>
                <a:gd name="connsiteX5" fmla="*/ 0 w 3070226"/>
                <a:gd name="connsiteY5" fmla="*/ 0 h 61474"/>
                <a:gd name="connsiteX6" fmla="*/ 18570 w 3070226"/>
                <a:gd name="connsiteY6" fmla="*/ 16014 h 61474"/>
                <a:gd name="connsiteX7" fmla="*/ 160954 w 3070226"/>
                <a:gd name="connsiteY7" fmla="*/ 61474 h 61474"/>
                <a:gd name="connsiteX8" fmla="*/ 826317 w 3070226"/>
                <a:gd name="connsiteY8" fmla="*/ 61474 h 61474"/>
                <a:gd name="connsiteX9" fmla="*/ 1009197 w 3070226"/>
                <a:gd name="connsiteY9" fmla="*/ 61474 h 61474"/>
                <a:gd name="connsiteX10" fmla="*/ 1009198 w 3070226"/>
                <a:gd name="connsiteY10" fmla="*/ 61474 h 61474"/>
                <a:gd name="connsiteX11" fmla="*/ 2061029 w 3070226"/>
                <a:gd name="connsiteY11" fmla="*/ 61474 h 61474"/>
                <a:gd name="connsiteX12" fmla="*/ 2909272 w 3070226"/>
                <a:gd name="connsiteY12" fmla="*/ 61474 h 61474"/>
                <a:gd name="connsiteX13" fmla="*/ 3051657 w 3070226"/>
                <a:gd name="connsiteY13" fmla="*/ 16014 h 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70226" h="61474">
                  <a:moveTo>
                    <a:pt x="3070226" y="0"/>
                  </a:moveTo>
                  <a:lnTo>
                    <a:pt x="2061029" y="0"/>
                  </a:lnTo>
                  <a:lnTo>
                    <a:pt x="1009198" y="0"/>
                  </a:lnTo>
                  <a:lnTo>
                    <a:pt x="1009197" y="0"/>
                  </a:lnTo>
                  <a:lnTo>
                    <a:pt x="826317" y="0"/>
                  </a:lnTo>
                  <a:lnTo>
                    <a:pt x="0" y="0"/>
                  </a:lnTo>
                  <a:lnTo>
                    <a:pt x="18570" y="16014"/>
                  </a:lnTo>
                  <a:cubicBezTo>
                    <a:pt x="59214" y="44715"/>
                    <a:pt x="108211" y="61474"/>
                    <a:pt x="160954" y="61474"/>
                  </a:cubicBezTo>
                  <a:lnTo>
                    <a:pt x="826317" y="61474"/>
                  </a:lnTo>
                  <a:lnTo>
                    <a:pt x="1009197" y="61474"/>
                  </a:lnTo>
                  <a:lnTo>
                    <a:pt x="1009198" y="61474"/>
                  </a:lnTo>
                  <a:lnTo>
                    <a:pt x="2061029" y="61474"/>
                  </a:lnTo>
                  <a:lnTo>
                    <a:pt x="2909272" y="61474"/>
                  </a:lnTo>
                  <a:cubicBezTo>
                    <a:pt x="2962015" y="61474"/>
                    <a:pt x="3011012" y="44715"/>
                    <a:pt x="3051657" y="16014"/>
                  </a:cubicBezTo>
                  <a:close/>
                </a:path>
              </a:pathLst>
            </a:cu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8237B458-82B3-4D22-1556-CA6F3A41103B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60454" y="2349500"/>
              <a:ext cx="3474266" cy="3919538"/>
            </a:xfrm>
            <a:prstGeom prst="rect">
              <a:avLst/>
            </a:prstGeom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</p:pic>
      </p:grp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D9478DC9-B599-E737-36FE-B95EAAFAB88C}"/>
              </a:ext>
            </a:extLst>
          </p:cNvPr>
          <p:cNvSpPr txBox="1">
            <a:spLocks/>
          </p:cNvSpPr>
          <p:nvPr/>
        </p:nvSpPr>
        <p:spPr>
          <a:xfrm>
            <a:off x="4617267" y="3562625"/>
            <a:ext cx="3063885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spc="0" baseline="0">
                <a:cs typeface="Segoe Sans Display" pitchFamily="2" charset="0"/>
              </a:defRPr>
            </a:lvl1pPr>
            <a:lvl2pPr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spc="0" baseline="0"/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/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Segoe Sans Display" pitchFamily="2" charset="0"/>
              </a:rPr>
              <a:t>…are worried about uncontrolled costs and agent sprawl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A3530AF-1F6B-CFE1-0E74-3F33149099D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259568" y="1541234"/>
            <a:ext cx="1676040" cy="167603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70%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8A05B6-76E1-495D-CF68-6DBCE1B1DD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360455" y="2436583"/>
            <a:ext cx="3474266" cy="3981012"/>
            <a:chOff x="571500" y="2349499"/>
            <a:chExt cx="3474266" cy="398101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7511620-4DA9-B2C6-F7B2-93C0B3D412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2434" t="98557" r="65625"/>
            <a:stretch>
              <a:fillRect/>
            </a:stretch>
          </p:blipFill>
          <p:spPr>
            <a:xfrm flipH="1">
              <a:off x="773520" y="6269037"/>
              <a:ext cx="3070226" cy="61474"/>
            </a:xfrm>
            <a:custGeom>
              <a:avLst/>
              <a:gdLst>
                <a:gd name="connsiteX0" fmla="*/ 3070226 w 3070226"/>
                <a:gd name="connsiteY0" fmla="*/ 0 h 61474"/>
                <a:gd name="connsiteX1" fmla="*/ 2061029 w 3070226"/>
                <a:gd name="connsiteY1" fmla="*/ 0 h 61474"/>
                <a:gd name="connsiteX2" fmla="*/ 1009198 w 3070226"/>
                <a:gd name="connsiteY2" fmla="*/ 0 h 61474"/>
                <a:gd name="connsiteX3" fmla="*/ 1009197 w 3070226"/>
                <a:gd name="connsiteY3" fmla="*/ 0 h 61474"/>
                <a:gd name="connsiteX4" fmla="*/ 826317 w 3070226"/>
                <a:gd name="connsiteY4" fmla="*/ 0 h 61474"/>
                <a:gd name="connsiteX5" fmla="*/ 0 w 3070226"/>
                <a:gd name="connsiteY5" fmla="*/ 0 h 61474"/>
                <a:gd name="connsiteX6" fmla="*/ 18570 w 3070226"/>
                <a:gd name="connsiteY6" fmla="*/ 16014 h 61474"/>
                <a:gd name="connsiteX7" fmla="*/ 160954 w 3070226"/>
                <a:gd name="connsiteY7" fmla="*/ 61474 h 61474"/>
                <a:gd name="connsiteX8" fmla="*/ 826317 w 3070226"/>
                <a:gd name="connsiteY8" fmla="*/ 61474 h 61474"/>
                <a:gd name="connsiteX9" fmla="*/ 1009197 w 3070226"/>
                <a:gd name="connsiteY9" fmla="*/ 61474 h 61474"/>
                <a:gd name="connsiteX10" fmla="*/ 1009198 w 3070226"/>
                <a:gd name="connsiteY10" fmla="*/ 61474 h 61474"/>
                <a:gd name="connsiteX11" fmla="*/ 2061029 w 3070226"/>
                <a:gd name="connsiteY11" fmla="*/ 61474 h 61474"/>
                <a:gd name="connsiteX12" fmla="*/ 2909272 w 3070226"/>
                <a:gd name="connsiteY12" fmla="*/ 61474 h 61474"/>
                <a:gd name="connsiteX13" fmla="*/ 3051657 w 3070226"/>
                <a:gd name="connsiteY13" fmla="*/ 16014 h 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70226" h="61474">
                  <a:moveTo>
                    <a:pt x="3070226" y="0"/>
                  </a:moveTo>
                  <a:lnTo>
                    <a:pt x="2061029" y="0"/>
                  </a:lnTo>
                  <a:lnTo>
                    <a:pt x="1009198" y="0"/>
                  </a:lnTo>
                  <a:lnTo>
                    <a:pt x="1009197" y="0"/>
                  </a:lnTo>
                  <a:lnTo>
                    <a:pt x="826317" y="0"/>
                  </a:lnTo>
                  <a:lnTo>
                    <a:pt x="0" y="0"/>
                  </a:lnTo>
                  <a:lnTo>
                    <a:pt x="18570" y="16014"/>
                  </a:lnTo>
                  <a:cubicBezTo>
                    <a:pt x="59214" y="44715"/>
                    <a:pt x="108211" y="61474"/>
                    <a:pt x="160954" y="61474"/>
                  </a:cubicBezTo>
                  <a:lnTo>
                    <a:pt x="826317" y="61474"/>
                  </a:lnTo>
                  <a:lnTo>
                    <a:pt x="1009197" y="61474"/>
                  </a:lnTo>
                  <a:lnTo>
                    <a:pt x="1009198" y="61474"/>
                  </a:lnTo>
                  <a:lnTo>
                    <a:pt x="2061029" y="61474"/>
                  </a:lnTo>
                  <a:lnTo>
                    <a:pt x="2909272" y="61474"/>
                  </a:lnTo>
                  <a:cubicBezTo>
                    <a:pt x="2962015" y="61474"/>
                    <a:pt x="3011012" y="44715"/>
                    <a:pt x="3051657" y="16014"/>
                  </a:cubicBezTo>
                  <a:close/>
                </a:path>
              </a:pathLst>
            </a:cu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BCE02A72-E1CF-47F8-DAD2-D468A1F5E799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1500" y="2349499"/>
              <a:ext cx="3474266" cy="3919538"/>
            </a:xfrm>
            <a:prstGeom prst="rect">
              <a:avLst/>
            </a:prstGeom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</p:pic>
      </p:grp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5FA2A3D-98C3-23B7-16EF-C2F445D89B7C}"/>
              </a:ext>
            </a:extLst>
          </p:cNvPr>
          <p:cNvSpPr txBox="1">
            <a:spLocks/>
          </p:cNvSpPr>
          <p:nvPr/>
        </p:nvSpPr>
        <p:spPr>
          <a:xfrm>
            <a:off x="4617267" y="3562625"/>
            <a:ext cx="3063885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Segoe Sans Display" pitchFamily="2" charset="0"/>
              </a:rPr>
              <a:t>…are worried about uncontrolled costs and agent sprawl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787CBA0-6F7E-2A4D-BDF4-8B67F8143E0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9048523" y="1541234"/>
            <a:ext cx="1676040" cy="167603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14%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BDAFD41-F781-332F-00F9-B040BB918D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149410" y="2436584"/>
            <a:ext cx="3474266" cy="3981011"/>
            <a:chOff x="8149409" y="2349500"/>
            <a:chExt cx="3474266" cy="3981011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8995197-2D3F-F9EB-3787-1DFC4E5641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2434" t="98557" r="65625"/>
            <a:stretch>
              <a:fillRect/>
            </a:stretch>
          </p:blipFill>
          <p:spPr>
            <a:xfrm flipH="1">
              <a:off x="8351429" y="6269037"/>
              <a:ext cx="3070226" cy="61474"/>
            </a:xfrm>
            <a:custGeom>
              <a:avLst/>
              <a:gdLst>
                <a:gd name="connsiteX0" fmla="*/ 3070226 w 3070226"/>
                <a:gd name="connsiteY0" fmla="*/ 0 h 61474"/>
                <a:gd name="connsiteX1" fmla="*/ 2061029 w 3070226"/>
                <a:gd name="connsiteY1" fmla="*/ 0 h 61474"/>
                <a:gd name="connsiteX2" fmla="*/ 1009198 w 3070226"/>
                <a:gd name="connsiteY2" fmla="*/ 0 h 61474"/>
                <a:gd name="connsiteX3" fmla="*/ 1009197 w 3070226"/>
                <a:gd name="connsiteY3" fmla="*/ 0 h 61474"/>
                <a:gd name="connsiteX4" fmla="*/ 826317 w 3070226"/>
                <a:gd name="connsiteY4" fmla="*/ 0 h 61474"/>
                <a:gd name="connsiteX5" fmla="*/ 0 w 3070226"/>
                <a:gd name="connsiteY5" fmla="*/ 0 h 61474"/>
                <a:gd name="connsiteX6" fmla="*/ 18570 w 3070226"/>
                <a:gd name="connsiteY6" fmla="*/ 16014 h 61474"/>
                <a:gd name="connsiteX7" fmla="*/ 160954 w 3070226"/>
                <a:gd name="connsiteY7" fmla="*/ 61474 h 61474"/>
                <a:gd name="connsiteX8" fmla="*/ 826317 w 3070226"/>
                <a:gd name="connsiteY8" fmla="*/ 61474 h 61474"/>
                <a:gd name="connsiteX9" fmla="*/ 1009197 w 3070226"/>
                <a:gd name="connsiteY9" fmla="*/ 61474 h 61474"/>
                <a:gd name="connsiteX10" fmla="*/ 1009198 w 3070226"/>
                <a:gd name="connsiteY10" fmla="*/ 61474 h 61474"/>
                <a:gd name="connsiteX11" fmla="*/ 2061029 w 3070226"/>
                <a:gd name="connsiteY11" fmla="*/ 61474 h 61474"/>
                <a:gd name="connsiteX12" fmla="*/ 2909272 w 3070226"/>
                <a:gd name="connsiteY12" fmla="*/ 61474 h 61474"/>
                <a:gd name="connsiteX13" fmla="*/ 3051657 w 3070226"/>
                <a:gd name="connsiteY13" fmla="*/ 16014 h 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70226" h="61474">
                  <a:moveTo>
                    <a:pt x="3070226" y="0"/>
                  </a:moveTo>
                  <a:lnTo>
                    <a:pt x="2061029" y="0"/>
                  </a:lnTo>
                  <a:lnTo>
                    <a:pt x="1009198" y="0"/>
                  </a:lnTo>
                  <a:lnTo>
                    <a:pt x="1009197" y="0"/>
                  </a:lnTo>
                  <a:lnTo>
                    <a:pt x="826317" y="0"/>
                  </a:lnTo>
                  <a:lnTo>
                    <a:pt x="0" y="0"/>
                  </a:lnTo>
                  <a:lnTo>
                    <a:pt x="18570" y="16014"/>
                  </a:lnTo>
                  <a:cubicBezTo>
                    <a:pt x="59214" y="44715"/>
                    <a:pt x="108211" y="61474"/>
                    <a:pt x="160954" y="61474"/>
                  </a:cubicBezTo>
                  <a:lnTo>
                    <a:pt x="826317" y="61474"/>
                  </a:lnTo>
                  <a:lnTo>
                    <a:pt x="1009197" y="61474"/>
                  </a:lnTo>
                  <a:lnTo>
                    <a:pt x="1009198" y="61474"/>
                  </a:lnTo>
                  <a:lnTo>
                    <a:pt x="2061029" y="61474"/>
                  </a:lnTo>
                  <a:lnTo>
                    <a:pt x="2909272" y="61474"/>
                  </a:lnTo>
                  <a:cubicBezTo>
                    <a:pt x="2962015" y="61474"/>
                    <a:pt x="3011012" y="44715"/>
                    <a:pt x="3051657" y="16014"/>
                  </a:cubicBezTo>
                  <a:close/>
                </a:path>
              </a:pathLst>
            </a:cu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2704D261-A5FF-ACBA-49C3-C2AE5043D8C8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149409" y="2349500"/>
              <a:ext cx="3474266" cy="3919538"/>
            </a:xfrm>
            <a:prstGeom prst="rect">
              <a:avLst/>
            </a:prstGeom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</p:pic>
      </p:grp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FF40099-9D55-2669-719D-F1988716E9E9}"/>
              </a:ext>
            </a:extLst>
          </p:cNvPr>
          <p:cNvSpPr txBox="1">
            <a:spLocks/>
          </p:cNvSpPr>
          <p:nvPr/>
        </p:nvSpPr>
        <p:spPr>
          <a:xfrm>
            <a:off x="8354601" y="3562625"/>
            <a:ext cx="3063885" cy="147732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spc="0" baseline="0">
                <a:cs typeface="Segoe Sans Display" pitchFamily="2" charset="0"/>
              </a:defRPr>
            </a:lvl1pPr>
            <a:lvl2pPr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spc="0" baseline="0"/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/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Segoe Sans Display" pitchFamily="2" charset="0"/>
              </a:rPr>
              <a:t>…believe they have the right governance structures in place to manage agent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8003736-47DB-B26A-E69C-71D2EFB8F64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499187" y="1544778"/>
            <a:ext cx="1676040" cy="167603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70%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9DCE52E-0F0C-B8AB-BA98-0AD5F54BAF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0074" y="2440128"/>
            <a:ext cx="3474266" cy="3981011"/>
            <a:chOff x="4360454" y="2349500"/>
            <a:chExt cx="3474266" cy="3981011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FA9EBB7-E3DF-B8EA-E3DA-89B1E1A30AE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2434" t="98557" r="65625"/>
            <a:stretch>
              <a:fillRect/>
            </a:stretch>
          </p:blipFill>
          <p:spPr>
            <a:xfrm flipH="1">
              <a:off x="4562474" y="6269037"/>
              <a:ext cx="3070226" cy="61474"/>
            </a:xfrm>
            <a:custGeom>
              <a:avLst/>
              <a:gdLst>
                <a:gd name="connsiteX0" fmla="*/ 3070226 w 3070226"/>
                <a:gd name="connsiteY0" fmla="*/ 0 h 61474"/>
                <a:gd name="connsiteX1" fmla="*/ 2061029 w 3070226"/>
                <a:gd name="connsiteY1" fmla="*/ 0 h 61474"/>
                <a:gd name="connsiteX2" fmla="*/ 1009198 w 3070226"/>
                <a:gd name="connsiteY2" fmla="*/ 0 h 61474"/>
                <a:gd name="connsiteX3" fmla="*/ 1009197 w 3070226"/>
                <a:gd name="connsiteY3" fmla="*/ 0 h 61474"/>
                <a:gd name="connsiteX4" fmla="*/ 826317 w 3070226"/>
                <a:gd name="connsiteY4" fmla="*/ 0 h 61474"/>
                <a:gd name="connsiteX5" fmla="*/ 0 w 3070226"/>
                <a:gd name="connsiteY5" fmla="*/ 0 h 61474"/>
                <a:gd name="connsiteX6" fmla="*/ 18570 w 3070226"/>
                <a:gd name="connsiteY6" fmla="*/ 16014 h 61474"/>
                <a:gd name="connsiteX7" fmla="*/ 160954 w 3070226"/>
                <a:gd name="connsiteY7" fmla="*/ 61474 h 61474"/>
                <a:gd name="connsiteX8" fmla="*/ 826317 w 3070226"/>
                <a:gd name="connsiteY8" fmla="*/ 61474 h 61474"/>
                <a:gd name="connsiteX9" fmla="*/ 1009197 w 3070226"/>
                <a:gd name="connsiteY9" fmla="*/ 61474 h 61474"/>
                <a:gd name="connsiteX10" fmla="*/ 1009198 w 3070226"/>
                <a:gd name="connsiteY10" fmla="*/ 61474 h 61474"/>
                <a:gd name="connsiteX11" fmla="*/ 2061029 w 3070226"/>
                <a:gd name="connsiteY11" fmla="*/ 61474 h 61474"/>
                <a:gd name="connsiteX12" fmla="*/ 2909272 w 3070226"/>
                <a:gd name="connsiteY12" fmla="*/ 61474 h 61474"/>
                <a:gd name="connsiteX13" fmla="*/ 3051657 w 3070226"/>
                <a:gd name="connsiteY13" fmla="*/ 16014 h 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70226" h="61474">
                  <a:moveTo>
                    <a:pt x="3070226" y="0"/>
                  </a:moveTo>
                  <a:lnTo>
                    <a:pt x="2061029" y="0"/>
                  </a:lnTo>
                  <a:lnTo>
                    <a:pt x="1009198" y="0"/>
                  </a:lnTo>
                  <a:lnTo>
                    <a:pt x="1009197" y="0"/>
                  </a:lnTo>
                  <a:lnTo>
                    <a:pt x="826317" y="0"/>
                  </a:lnTo>
                  <a:lnTo>
                    <a:pt x="0" y="0"/>
                  </a:lnTo>
                  <a:lnTo>
                    <a:pt x="18570" y="16014"/>
                  </a:lnTo>
                  <a:cubicBezTo>
                    <a:pt x="59214" y="44715"/>
                    <a:pt x="108211" y="61474"/>
                    <a:pt x="160954" y="61474"/>
                  </a:cubicBezTo>
                  <a:lnTo>
                    <a:pt x="826317" y="61474"/>
                  </a:lnTo>
                  <a:lnTo>
                    <a:pt x="1009197" y="61474"/>
                  </a:lnTo>
                  <a:lnTo>
                    <a:pt x="1009198" y="61474"/>
                  </a:lnTo>
                  <a:lnTo>
                    <a:pt x="2061029" y="61474"/>
                  </a:lnTo>
                  <a:lnTo>
                    <a:pt x="2909272" y="61474"/>
                  </a:lnTo>
                  <a:cubicBezTo>
                    <a:pt x="2962015" y="61474"/>
                    <a:pt x="3011012" y="44715"/>
                    <a:pt x="3051657" y="16014"/>
                  </a:cubicBezTo>
                  <a:close/>
                </a:path>
              </a:pathLst>
            </a:cu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9AB4ABD6-3680-C8EA-1569-ED3BC69FBBBD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60454" y="2349500"/>
              <a:ext cx="3474266" cy="3919538"/>
            </a:xfrm>
            <a:prstGeom prst="rect">
              <a:avLst/>
            </a:prstGeom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</p:pic>
      </p:grp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DC3DB65-D236-5EBE-F1BD-5AD4CA11175C}"/>
              </a:ext>
            </a:extLst>
          </p:cNvPr>
          <p:cNvSpPr txBox="1">
            <a:spLocks/>
          </p:cNvSpPr>
          <p:nvPr/>
        </p:nvSpPr>
        <p:spPr>
          <a:xfrm>
            <a:off x="856886" y="3566169"/>
            <a:ext cx="3063885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R="0" indent="0" algn="ctr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400" spc="0" baseline="0">
                <a:cs typeface="Segoe Sans Display" pitchFamily="2" charset="0"/>
              </a:defRPr>
            </a:lvl1pPr>
            <a:lvl2pPr marR="0" indent="-228600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spc="0" baseline="0"/>
            </a:lvl2pPr>
            <a:lvl3pPr marL="657225" marR="0" indent="-20002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spc="0" baseline="0"/>
            </a:lvl3pPr>
            <a:lvl4pPr marL="842963" marR="0" indent="-1809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4pPr>
            <a:lvl5pPr marL="1023938" marR="0" indent="-168275" defTabSz="932742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spc="0" baseline="0"/>
            </a:lvl5pPr>
            <a:lvl6pPr marL="2565040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3031412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97783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964155" indent="-233186" defTabSz="932742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Segoe Sans Display" pitchFamily="2" charset="0"/>
              </a:rPr>
              <a:t>…are worried about uncontrolled costs and agent spraw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B84C052-EFB5-D675-7960-591C3AB2E7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499187" y="1544778"/>
            <a:ext cx="1676040" cy="167603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71%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E1F4473-31D5-AFCA-CDA1-6B82F27BC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00074" y="2440127"/>
            <a:ext cx="3474266" cy="3981012"/>
            <a:chOff x="571500" y="2349499"/>
            <a:chExt cx="3474266" cy="398101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935ABAB-B3BD-3507-5AAA-E4EB85B4005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 l="2434" t="98557" r="65625"/>
            <a:stretch>
              <a:fillRect/>
            </a:stretch>
          </p:blipFill>
          <p:spPr>
            <a:xfrm flipH="1">
              <a:off x="773520" y="6269037"/>
              <a:ext cx="3070226" cy="61474"/>
            </a:xfrm>
            <a:custGeom>
              <a:avLst/>
              <a:gdLst>
                <a:gd name="connsiteX0" fmla="*/ 3070226 w 3070226"/>
                <a:gd name="connsiteY0" fmla="*/ 0 h 61474"/>
                <a:gd name="connsiteX1" fmla="*/ 2061029 w 3070226"/>
                <a:gd name="connsiteY1" fmla="*/ 0 h 61474"/>
                <a:gd name="connsiteX2" fmla="*/ 1009198 w 3070226"/>
                <a:gd name="connsiteY2" fmla="*/ 0 h 61474"/>
                <a:gd name="connsiteX3" fmla="*/ 1009197 w 3070226"/>
                <a:gd name="connsiteY3" fmla="*/ 0 h 61474"/>
                <a:gd name="connsiteX4" fmla="*/ 826317 w 3070226"/>
                <a:gd name="connsiteY4" fmla="*/ 0 h 61474"/>
                <a:gd name="connsiteX5" fmla="*/ 0 w 3070226"/>
                <a:gd name="connsiteY5" fmla="*/ 0 h 61474"/>
                <a:gd name="connsiteX6" fmla="*/ 18570 w 3070226"/>
                <a:gd name="connsiteY6" fmla="*/ 16014 h 61474"/>
                <a:gd name="connsiteX7" fmla="*/ 160954 w 3070226"/>
                <a:gd name="connsiteY7" fmla="*/ 61474 h 61474"/>
                <a:gd name="connsiteX8" fmla="*/ 826317 w 3070226"/>
                <a:gd name="connsiteY8" fmla="*/ 61474 h 61474"/>
                <a:gd name="connsiteX9" fmla="*/ 1009197 w 3070226"/>
                <a:gd name="connsiteY9" fmla="*/ 61474 h 61474"/>
                <a:gd name="connsiteX10" fmla="*/ 1009198 w 3070226"/>
                <a:gd name="connsiteY10" fmla="*/ 61474 h 61474"/>
                <a:gd name="connsiteX11" fmla="*/ 2061029 w 3070226"/>
                <a:gd name="connsiteY11" fmla="*/ 61474 h 61474"/>
                <a:gd name="connsiteX12" fmla="*/ 2909272 w 3070226"/>
                <a:gd name="connsiteY12" fmla="*/ 61474 h 61474"/>
                <a:gd name="connsiteX13" fmla="*/ 3051657 w 3070226"/>
                <a:gd name="connsiteY13" fmla="*/ 16014 h 61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70226" h="61474">
                  <a:moveTo>
                    <a:pt x="3070226" y="0"/>
                  </a:moveTo>
                  <a:lnTo>
                    <a:pt x="2061029" y="0"/>
                  </a:lnTo>
                  <a:lnTo>
                    <a:pt x="1009198" y="0"/>
                  </a:lnTo>
                  <a:lnTo>
                    <a:pt x="1009197" y="0"/>
                  </a:lnTo>
                  <a:lnTo>
                    <a:pt x="826317" y="0"/>
                  </a:lnTo>
                  <a:lnTo>
                    <a:pt x="0" y="0"/>
                  </a:lnTo>
                  <a:lnTo>
                    <a:pt x="18570" y="16014"/>
                  </a:lnTo>
                  <a:cubicBezTo>
                    <a:pt x="59214" y="44715"/>
                    <a:pt x="108211" y="61474"/>
                    <a:pt x="160954" y="61474"/>
                  </a:cubicBezTo>
                  <a:lnTo>
                    <a:pt x="826317" y="61474"/>
                  </a:lnTo>
                  <a:lnTo>
                    <a:pt x="1009197" y="61474"/>
                  </a:lnTo>
                  <a:lnTo>
                    <a:pt x="1009198" y="61474"/>
                  </a:lnTo>
                  <a:lnTo>
                    <a:pt x="2061029" y="61474"/>
                  </a:lnTo>
                  <a:lnTo>
                    <a:pt x="2909272" y="61474"/>
                  </a:lnTo>
                  <a:cubicBezTo>
                    <a:pt x="2962015" y="61474"/>
                    <a:pt x="3011012" y="44715"/>
                    <a:pt x="3051657" y="16014"/>
                  </a:cubicBezTo>
                  <a:close/>
                </a:path>
              </a:pathLst>
            </a:custGeom>
          </p:spPr>
        </p:pic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80DC5AB4-E708-2A2D-FC6E-E78D7901C7DF}"/>
                </a:ext>
              </a:extLst>
            </p:cNvPr>
            <p:cNvPicPr>
              <a:picLocks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1500" y="2349499"/>
              <a:ext cx="3474266" cy="3919538"/>
            </a:xfrm>
            <a:prstGeom prst="rect">
              <a:avLst/>
            </a:prstGeom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</p:pic>
      </p:grp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58C481-4BC4-5FDD-BB71-8CFCC3221763}"/>
              </a:ext>
            </a:extLst>
          </p:cNvPr>
          <p:cNvSpPr txBox="1">
            <a:spLocks/>
          </p:cNvSpPr>
          <p:nvPr/>
        </p:nvSpPr>
        <p:spPr>
          <a:xfrm>
            <a:off x="856886" y="3566169"/>
            <a:ext cx="3063885" cy="147732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Segoe Sans Display" pitchFamily="2" charset="0"/>
              </a:rPr>
              <a:t>…cite security and governance concerns among their biggest challenges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BFF3C847-7C55-3F9E-9EAF-76ED3F93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311550"/>
            <a:ext cx="11052175" cy="492443"/>
          </a:xfrm>
        </p:spPr>
        <p:txBody>
          <a:bodyPr>
            <a:spAutoFit/>
          </a:bodyPr>
          <a:lstStyle/>
          <a:p>
            <a:pPr algn="ctr"/>
            <a:r>
              <a:rPr lang="en-US" dirty="0"/>
              <a:t>Customers want controls</a:t>
            </a:r>
          </a:p>
        </p:txBody>
      </p:sp>
    </p:spTree>
    <p:extLst>
      <p:ext uri="{BB962C8B-B14F-4D97-AF65-F5344CB8AC3E}">
        <p14:creationId xmlns:p14="http://schemas.microsoft.com/office/powerpoint/2010/main" val="138108802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B40D70-753D-BEE5-F61F-13DECEFAF6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1" name="Group 260">
            <a:extLst>
              <a:ext uri="{FF2B5EF4-FFF2-40B4-BE49-F238E27FC236}">
                <a16:creationId xmlns:a16="http://schemas.microsoft.com/office/drawing/2014/main" id="{2A95F6DA-873D-341E-0FBA-F39E105E61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24341F3-F58C-99B0-83B3-A5329DBE6B6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15EC67AE-67D2-0437-7CCF-87DE9BA4013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55" r="3055"/>
              <a:stretch/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69BB374F-0B9C-5B41-674B-7B58395C662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1998" cy="685800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Display"/>
                  <a:ea typeface="+mn-ea"/>
                  <a:cs typeface="Segoe UI" pitchFamily="34" charset="0"/>
                </a:endParaRPr>
              </a:p>
            </p:txBody>
          </p:sp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8F270323-69B8-F79B-AD66-13517E1977F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flipH="1">
                <a:off x="0" y="6788943"/>
                <a:ext cx="12191992" cy="69057"/>
              </a:xfrm>
              <a:prstGeom prst="rect">
                <a:avLst/>
              </a:prstGeom>
            </p:spPr>
          </p:pic>
        </p:grp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05A03946-AE13-40A8-E3DC-1F219CBFB8D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080" y="1400537"/>
              <a:ext cx="6853920" cy="4082924"/>
            </a:xfrm>
            <a:custGeom>
              <a:avLst/>
              <a:gdLst>
                <a:gd name="connsiteX0" fmla="*/ 166093 w 8041579"/>
                <a:gd name="connsiteY0" fmla="*/ 0 h 4866478"/>
                <a:gd name="connsiteX1" fmla="*/ 8041579 w 8041579"/>
                <a:gd name="connsiteY1" fmla="*/ 0 h 4866478"/>
                <a:gd name="connsiteX2" fmla="*/ 8041579 w 8041579"/>
                <a:gd name="connsiteY2" fmla="*/ 4866478 h 4866478"/>
                <a:gd name="connsiteX3" fmla="*/ 166093 w 8041579"/>
                <a:gd name="connsiteY3" fmla="*/ 4866478 h 4866478"/>
                <a:gd name="connsiteX4" fmla="*/ 0 w 8041579"/>
                <a:gd name="connsiteY4" fmla="*/ 4700385 h 4866478"/>
                <a:gd name="connsiteX5" fmla="*/ 0 w 8041579"/>
                <a:gd name="connsiteY5" fmla="*/ 166093 h 4866478"/>
                <a:gd name="connsiteX6" fmla="*/ 166093 w 8041579"/>
                <a:gd name="connsiteY6" fmla="*/ 0 h 4866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41579" h="4866478">
                  <a:moveTo>
                    <a:pt x="166093" y="0"/>
                  </a:moveTo>
                  <a:lnTo>
                    <a:pt x="8041579" y="0"/>
                  </a:lnTo>
                  <a:lnTo>
                    <a:pt x="8041579" y="4866478"/>
                  </a:lnTo>
                  <a:lnTo>
                    <a:pt x="166093" y="4866478"/>
                  </a:lnTo>
                  <a:cubicBezTo>
                    <a:pt x="74362" y="4866478"/>
                    <a:pt x="0" y="4792116"/>
                    <a:pt x="0" y="4700385"/>
                  </a:cubicBezTo>
                  <a:lnTo>
                    <a:pt x="0" y="166093"/>
                  </a:lnTo>
                  <a:cubicBezTo>
                    <a:pt x="0" y="74362"/>
                    <a:pt x="74362" y="0"/>
                    <a:pt x="166093" y="0"/>
                  </a:cubicBez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6350">
              <a:noFill/>
              <a:headEnd type="none" w="med" len="med"/>
              <a:tailEnd type="none" w="med" len="med"/>
            </a:ln>
            <a:effectLst>
              <a:outerShdw blurRad="215900" algn="ctr" rotWithShape="0">
                <a:prstClr val="black">
                  <a:alpha val="13000"/>
                </a:prst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5C22286-0879-75BE-9F40-9EF48D9E0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-726170"/>
            <a:ext cx="11052175" cy="492125"/>
          </a:xfrm>
        </p:spPr>
        <p:txBody>
          <a:bodyPr>
            <a:noAutofit/>
          </a:bodyPr>
          <a:lstStyle/>
          <a:p>
            <a:r>
              <a:rPr lang="en-US"/>
              <a:t>Foundational AI Commitments</a:t>
            </a:r>
          </a:p>
        </p:txBody>
      </p:sp>
      <p:sp>
        <p:nvSpPr>
          <p:cNvPr id="48" name="Rectangle: Rounded Corners 34">
            <a:extLst>
              <a:ext uri="{FF2B5EF4-FFF2-40B4-BE49-F238E27FC236}">
                <a16:creationId xmlns:a16="http://schemas.microsoft.com/office/drawing/2014/main" id="{E539528A-6B87-3841-4EF7-EC7A673A7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1500" y="585788"/>
            <a:ext cx="5670550" cy="5712422"/>
          </a:xfrm>
          <a:prstGeom prst="roundRect">
            <a:avLst>
              <a:gd name="adj" fmla="val 2971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951D80B-BB2A-9B2D-2B25-6A9D538361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708660" y="750056"/>
            <a:ext cx="5396230" cy="548640"/>
          </a:xfrm>
          <a:prstGeom prst="roundRect">
            <a:avLst>
              <a:gd name="adj" fmla="val 11059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Microsoft commitments and controls</a:t>
            </a:r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6A90E6AF-E181-76D1-3A44-07DDA7119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08660" y="1435855"/>
            <a:ext cx="2629535" cy="2280464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15" name="!Graphic 551">
            <a:extLst>
              <a:ext uri="{FF2B5EF4-FFF2-40B4-BE49-F238E27FC236}">
                <a16:creationId xmlns:a16="http://schemas.microsoft.com/office/drawing/2014/main" id="{633A3DAC-1F78-E499-0F65-CDC972BB7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1805756" y="1996569"/>
            <a:ext cx="435342" cy="483712"/>
          </a:xfrm>
          <a:custGeom>
            <a:avLst/>
            <a:gdLst>
              <a:gd name="connsiteX0" fmla="*/ 339367 w 444042"/>
              <a:gd name="connsiteY0" fmla="*/ 180155 h 493380"/>
              <a:gd name="connsiteX1" fmla="*/ 340504 w 444042"/>
              <a:gd name="connsiteY1" fmla="*/ 154014 h 493380"/>
              <a:gd name="connsiteX2" fmla="*/ 314363 w 444042"/>
              <a:gd name="connsiteY2" fmla="*/ 152878 h 493380"/>
              <a:gd name="connsiteX3" fmla="*/ 179408 w 444042"/>
              <a:gd name="connsiteY3" fmla="*/ 276587 h 493380"/>
              <a:gd name="connsiteX4" fmla="*/ 130261 w 444042"/>
              <a:gd name="connsiteY4" fmla="*/ 227441 h 493380"/>
              <a:gd name="connsiteX5" fmla="*/ 104095 w 444042"/>
              <a:gd name="connsiteY5" fmla="*/ 227441 h 493380"/>
              <a:gd name="connsiteX6" fmla="*/ 104095 w 444042"/>
              <a:gd name="connsiteY6" fmla="*/ 253605 h 493380"/>
              <a:gd name="connsiteX7" fmla="*/ 165768 w 444042"/>
              <a:gd name="connsiteY7" fmla="*/ 315278 h 493380"/>
              <a:gd name="connsiteX8" fmla="*/ 191353 w 444042"/>
              <a:gd name="connsiteY8" fmla="*/ 315835 h 493380"/>
              <a:gd name="connsiteX9" fmla="*/ 339367 w 444042"/>
              <a:gd name="connsiteY9" fmla="*/ 180155 h 493380"/>
              <a:gd name="connsiteX10" fmla="*/ 425541 w 444042"/>
              <a:gd name="connsiteY10" fmla="*/ 74007 h 493380"/>
              <a:gd name="connsiteX11" fmla="*/ 233122 w 444042"/>
              <a:gd name="connsiteY11" fmla="*/ 3700 h 493380"/>
              <a:gd name="connsiteX12" fmla="*/ 210920 w 444042"/>
              <a:gd name="connsiteY12" fmla="*/ 3700 h 493380"/>
              <a:gd name="connsiteX13" fmla="*/ 18502 w 444042"/>
              <a:gd name="connsiteY13" fmla="*/ 74007 h 493380"/>
              <a:gd name="connsiteX14" fmla="*/ 0 w 444042"/>
              <a:gd name="connsiteY14" fmla="*/ 92509 h 493380"/>
              <a:gd name="connsiteX15" fmla="*/ 0 w 444042"/>
              <a:gd name="connsiteY15" fmla="*/ 222021 h 493380"/>
              <a:gd name="connsiteX16" fmla="*/ 215240 w 444042"/>
              <a:gd name="connsiteY16" fmla="*/ 492093 h 493380"/>
              <a:gd name="connsiteX17" fmla="*/ 228803 w 444042"/>
              <a:gd name="connsiteY17" fmla="*/ 492093 h 493380"/>
              <a:gd name="connsiteX18" fmla="*/ 444043 w 444042"/>
              <a:gd name="connsiteY18" fmla="*/ 222021 h 493380"/>
              <a:gd name="connsiteX19" fmla="*/ 444043 w 444042"/>
              <a:gd name="connsiteY19" fmla="*/ 92509 h 493380"/>
              <a:gd name="connsiteX20" fmla="*/ 425541 w 444042"/>
              <a:gd name="connsiteY20" fmla="*/ 74007 h 493380"/>
              <a:gd name="connsiteX21" fmla="*/ 37004 w 444042"/>
              <a:gd name="connsiteY21" fmla="*/ 110466 h 493380"/>
              <a:gd name="connsiteX22" fmla="*/ 222021 w 444042"/>
              <a:gd name="connsiteY22" fmla="*/ 41390 h 493380"/>
              <a:gd name="connsiteX23" fmla="*/ 407039 w 444042"/>
              <a:gd name="connsiteY23" fmla="*/ 110466 h 493380"/>
              <a:gd name="connsiteX24" fmla="*/ 407039 w 444042"/>
              <a:gd name="connsiteY24" fmla="*/ 222021 h 493380"/>
              <a:gd name="connsiteX25" fmla="*/ 222021 w 444042"/>
              <a:gd name="connsiteY25" fmla="*/ 454944 h 493380"/>
              <a:gd name="connsiteX26" fmla="*/ 37004 w 444042"/>
              <a:gd name="connsiteY26" fmla="*/ 222021 h 493380"/>
              <a:gd name="connsiteX27" fmla="*/ 37004 w 444042"/>
              <a:gd name="connsiteY27" fmla="*/ 110466 h 49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44042" h="493380">
                <a:moveTo>
                  <a:pt x="339367" y="180155"/>
                </a:moveTo>
                <a:cubicBezTo>
                  <a:pt x="346899" y="173250"/>
                  <a:pt x="347409" y="161546"/>
                  <a:pt x="340504" y="154014"/>
                </a:cubicBezTo>
                <a:cubicBezTo>
                  <a:pt x="333599" y="146482"/>
                  <a:pt x="321894" y="145973"/>
                  <a:pt x="314363" y="152878"/>
                </a:cubicBezTo>
                <a:lnTo>
                  <a:pt x="179408" y="276587"/>
                </a:lnTo>
                <a:lnTo>
                  <a:pt x="130261" y="227441"/>
                </a:lnTo>
                <a:cubicBezTo>
                  <a:pt x="123035" y="220216"/>
                  <a:pt x="111321" y="220216"/>
                  <a:pt x="104095" y="227441"/>
                </a:cubicBezTo>
                <a:cubicBezTo>
                  <a:pt x="96870" y="234667"/>
                  <a:pt x="96870" y="246380"/>
                  <a:pt x="104095" y="253605"/>
                </a:cubicBezTo>
                <a:lnTo>
                  <a:pt x="165768" y="315278"/>
                </a:lnTo>
                <a:cubicBezTo>
                  <a:pt x="172772" y="322284"/>
                  <a:pt x="184051" y="322528"/>
                  <a:pt x="191353" y="315835"/>
                </a:cubicBezTo>
                <a:lnTo>
                  <a:pt x="339367" y="180155"/>
                </a:lnTo>
                <a:close/>
                <a:moveTo>
                  <a:pt x="425541" y="74007"/>
                </a:moveTo>
                <a:cubicBezTo>
                  <a:pt x="359837" y="74007"/>
                  <a:pt x="295831" y="50732"/>
                  <a:pt x="233122" y="3700"/>
                </a:cubicBezTo>
                <a:cubicBezTo>
                  <a:pt x="226543" y="-1233"/>
                  <a:pt x="217500" y="-1233"/>
                  <a:pt x="210920" y="3700"/>
                </a:cubicBezTo>
                <a:cubicBezTo>
                  <a:pt x="148211" y="50732"/>
                  <a:pt x="84206" y="74007"/>
                  <a:pt x="18502" y="74007"/>
                </a:cubicBezTo>
                <a:cubicBezTo>
                  <a:pt x="8284" y="74007"/>
                  <a:pt x="0" y="82291"/>
                  <a:pt x="0" y="92509"/>
                </a:cubicBezTo>
                <a:lnTo>
                  <a:pt x="0" y="222021"/>
                </a:lnTo>
                <a:cubicBezTo>
                  <a:pt x="0" y="345396"/>
                  <a:pt x="72960" y="436043"/>
                  <a:pt x="215240" y="492093"/>
                </a:cubicBezTo>
                <a:cubicBezTo>
                  <a:pt x="219599" y="493810"/>
                  <a:pt x="224444" y="493810"/>
                  <a:pt x="228803" y="492093"/>
                </a:cubicBezTo>
                <a:cubicBezTo>
                  <a:pt x="371082" y="436043"/>
                  <a:pt x="444043" y="345396"/>
                  <a:pt x="444043" y="222021"/>
                </a:cubicBezTo>
                <a:lnTo>
                  <a:pt x="444043" y="92509"/>
                </a:lnTo>
                <a:cubicBezTo>
                  <a:pt x="444043" y="82291"/>
                  <a:pt x="435759" y="74007"/>
                  <a:pt x="425541" y="74007"/>
                </a:cubicBezTo>
                <a:close/>
                <a:moveTo>
                  <a:pt x="37004" y="110466"/>
                </a:moveTo>
                <a:cubicBezTo>
                  <a:pt x="100584" y="106715"/>
                  <a:pt x="162343" y="83586"/>
                  <a:pt x="222021" y="41390"/>
                </a:cubicBezTo>
                <a:cubicBezTo>
                  <a:pt x="281701" y="83586"/>
                  <a:pt x="343460" y="106715"/>
                  <a:pt x="407039" y="110466"/>
                </a:cubicBezTo>
                <a:lnTo>
                  <a:pt x="407039" y="222021"/>
                </a:lnTo>
                <a:cubicBezTo>
                  <a:pt x="407039" y="327003"/>
                  <a:pt x="346516" y="404052"/>
                  <a:pt x="222021" y="454944"/>
                </a:cubicBezTo>
                <a:cubicBezTo>
                  <a:pt x="97526" y="404052"/>
                  <a:pt x="37004" y="327003"/>
                  <a:pt x="37004" y="222021"/>
                </a:cubicBezTo>
                <a:lnTo>
                  <a:pt x="37004" y="110466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1FC8F44-C03D-F222-5AC7-60B18C6A2872}"/>
              </a:ext>
            </a:extLst>
          </p:cNvPr>
          <p:cNvSpPr txBox="1">
            <a:spLocks/>
          </p:cNvSpPr>
          <p:nvPr/>
        </p:nvSpPr>
        <p:spPr>
          <a:xfrm>
            <a:off x="910949" y="2663161"/>
            <a:ext cx="2224957" cy="49244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We secure your data at rest and in transi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4F6FBC8E-5C3A-3441-2245-3817852493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75355" y="1435855"/>
            <a:ext cx="2629535" cy="2280465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61" name="!Graphic 741">
            <a:extLst>
              <a:ext uri="{FF2B5EF4-FFF2-40B4-BE49-F238E27FC236}">
                <a16:creationId xmlns:a16="http://schemas.microsoft.com/office/drawing/2014/main" id="{91F346D7-9D61-7728-79D9-603BC8A5D3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549111" y="1997414"/>
            <a:ext cx="482022" cy="482022"/>
          </a:xfrm>
          <a:custGeom>
            <a:avLst/>
            <a:gdLst>
              <a:gd name="connsiteX0" fmla="*/ 147599 w 199986"/>
              <a:gd name="connsiteY0" fmla="*/ 95212 h 199986"/>
              <a:gd name="connsiteX1" fmla="*/ 199987 w 199986"/>
              <a:gd name="connsiteY1" fmla="*/ 147599 h 199986"/>
              <a:gd name="connsiteX2" fmla="*/ 147599 w 199986"/>
              <a:gd name="connsiteY2" fmla="*/ 199987 h 199986"/>
              <a:gd name="connsiteX3" fmla="*/ 95212 w 199986"/>
              <a:gd name="connsiteY3" fmla="*/ 147599 h 199986"/>
              <a:gd name="connsiteX4" fmla="*/ 147599 w 199986"/>
              <a:gd name="connsiteY4" fmla="*/ 95212 h 199986"/>
              <a:gd name="connsiteX5" fmla="*/ 122396 w 199986"/>
              <a:gd name="connsiteY5" fmla="*/ 144228 h 199986"/>
              <a:gd name="connsiteX6" fmla="*/ 115662 w 199986"/>
              <a:gd name="connsiteY6" fmla="*/ 144345 h 199986"/>
              <a:gd name="connsiteX7" fmla="*/ 115662 w 199986"/>
              <a:gd name="connsiteY7" fmla="*/ 150962 h 199986"/>
              <a:gd name="connsiteX8" fmla="*/ 134712 w 199986"/>
              <a:gd name="connsiteY8" fmla="*/ 170012 h 199986"/>
              <a:gd name="connsiteX9" fmla="*/ 141446 w 199986"/>
              <a:gd name="connsiteY9" fmla="*/ 170012 h 199986"/>
              <a:gd name="connsiteX10" fmla="*/ 179546 w 199986"/>
              <a:gd name="connsiteY10" fmla="*/ 131912 h 199986"/>
              <a:gd name="connsiteX11" fmla="*/ 179429 w 199986"/>
              <a:gd name="connsiteY11" fmla="*/ 125178 h 199986"/>
              <a:gd name="connsiteX12" fmla="*/ 172812 w 199986"/>
              <a:gd name="connsiteY12" fmla="*/ 125178 h 199986"/>
              <a:gd name="connsiteX13" fmla="*/ 138074 w 199986"/>
              <a:gd name="connsiteY13" fmla="*/ 159915 h 199986"/>
              <a:gd name="connsiteX14" fmla="*/ 122396 w 199986"/>
              <a:gd name="connsiteY14" fmla="*/ 144228 h 199986"/>
              <a:gd name="connsiteX15" fmla="*/ 95421 w 199986"/>
              <a:gd name="connsiteY15" fmla="*/ 114262 h 199986"/>
              <a:gd name="connsiteX16" fmla="*/ 88678 w 199986"/>
              <a:gd name="connsiteY16" fmla="*/ 128549 h 199986"/>
              <a:gd name="connsiteX17" fmla="*/ 21422 w 199986"/>
              <a:gd name="connsiteY17" fmla="*/ 128549 h 199986"/>
              <a:gd name="connsiteX18" fmla="*/ 14278 w 199986"/>
              <a:gd name="connsiteY18" fmla="*/ 135674 h 199986"/>
              <a:gd name="connsiteX19" fmla="*/ 14278 w 199986"/>
              <a:gd name="connsiteY19" fmla="*/ 135693 h 199986"/>
              <a:gd name="connsiteX20" fmla="*/ 14278 w 199986"/>
              <a:gd name="connsiteY20" fmla="*/ 141189 h 199986"/>
              <a:gd name="connsiteX21" fmla="*/ 19421 w 199986"/>
              <a:gd name="connsiteY21" fmla="*/ 155105 h 199986"/>
              <a:gd name="connsiteX22" fmla="*/ 76162 w 199986"/>
              <a:gd name="connsiteY22" fmla="*/ 176193 h 199986"/>
              <a:gd name="connsiteX23" fmla="*/ 92164 w 199986"/>
              <a:gd name="connsiteY23" fmla="*/ 175184 h 199986"/>
              <a:gd name="connsiteX24" fmla="*/ 100851 w 199986"/>
              <a:gd name="connsiteY24" fmla="*/ 188195 h 199986"/>
              <a:gd name="connsiteX25" fmla="*/ 76162 w 199986"/>
              <a:gd name="connsiteY25" fmla="*/ 190481 h 199986"/>
              <a:gd name="connsiteX26" fmla="*/ 8553 w 199986"/>
              <a:gd name="connsiteY26" fmla="*/ 164382 h 199986"/>
              <a:gd name="connsiteX27" fmla="*/ 0 w 199986"/>
              <a:gd name="connsiteY27" fmla="*/ 141189 h 199986"/>
              <a:gd name="connsiteX28" fmla="*/ 0 w 199986"/>
              <a:gd name="connsiteY28" fmla="*/ 135693 h 199986"/>
              <a:gd name="connsiteX29" fmla="*/ 21412 w 199986"/>
              <a:gd name="connsiteY29" fmla="*/ 114262 h 199986"/>
              <a:gd name="connsiteX30" fmla="*/ 21422 w 199986"/>
              <a:gd name="connsiteY30" fmla="*/ 114262 h 199986"/>
              <a:gd name="connsiteX31" fmla="*/ 95431 w 199986"/>
              <a:gd name="connsiteY31" fmla="*/ 114262 h 199986"/>
              <a:gd name="connsiteX32" fmla="*/ 76162 w 199986"/>
              <a:gd name="connsiteY32" fmla="*/ 0 h 199986"/>
              <a:gd name="connsiteX33" fmla="*/ 123787 w 199986"/>
              <a:gd name="connsiteY33" fmla="*/ 47625 h 199986"/>
              <a:gd name="connsiteX34" fmla="*/ 76162 w 199986"/>
              <a:gd name="connsiteY34" fmla="*/ 95250 h 199986"/>
              <a:gd name="connsiteX35" fmla="*/ 28537 w 199986"/>
              <a:gd name="connsiteY35" fmla="*/ 47625 h 199986"/>
              <a:gd name="connsiteX36" fmla="*/ 76162 w 199986"/>
              <a:gd name="connsiteY36" fmla="*/ 0 h 199986"/>
              <a:gd name="connsiteX37" fmla="*/ 76162 w 199986"/>
              <a:gd name="connsiteY37" fmla="*/ 14288 h 199986"/>
              <a:gd name="connsiteX38" fmla="*/ 42824 w 199986"/>
              <a:gd name="connsiteY38" fmla="*/ 47625 h 199986"/>
              <a:gd name="connsiteX39" fmla="*/ 76162 w 199986"/>
              <a:gd name="connsiteY39" fmla="*/ 80963 h 199986"/>
              <a:gd name="connsiteX40" fmla="*/ 109499 w 199986"/>
              <a:gd name="connsiteY40" fmla="*/ 47625 h 199986"/>
              <a:gd name="connsiteX41" fmla="*/ 76162 w 199986"/>
              <a:gd name="connsiteY41" fmla="*/ 14288 h 199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99986" h="199986">
                <a:moveTo>
                  <a:pt x="147599" y="95212"/>
                </a:moveTo>
                <a:cubicBezTo>
                  <a:pt x="176533" y="95212"/>
                  <a:pt x="199987" y="118666"/>
                  <a:pt x="199987" y="147599"/>
                </a:cubicBezTo>
                <a:cubicBezTo>
                  <a:pt x="199987" y="176533"/>
                  <a:pt x="176533" y="199987"/>
                  <a:pt x="147599" y="199987"/>
                </a:cubicBezTo>
                <a:cubicBezTo>
                  <a:pt x="118666" y="199987"/>
                  <a:pt x="95212" y="176533"/>
                  <a:pt x="95212" y="147599"/>
                </a:cubicBezTo>
                <a:cubicBezTo>
                  <a:pt x="95212" y="118666"/>
                  <a:pt x="118666" y="95212"/>
                  <a:pt x="147599" y="95212"/>
                </a:cubicBezTo>
                <a:close/>
                <a:moveTo>
                  <a:pt x="122396" y="144228"/>
                </a:moveTo>
                <a:cubicBezTo>
                  <a:pt x="120505" y="142401"/>
                  <a:pt x="117489" y="142453"/>
                  <a:pt x="115662" y="144345"/>
                </a:cubicBezTo>
                <a:cubicBezTo>
                  <a:pt x="113880" y="146191"/>
                  <a:pt x="113880" y="149116"/>
                  <a:pt x="115662" y="150962"/>
                </a:cubicBezTo>
                <a:lnTo>
                  <a:pt x="134712" y="170012"/>
                </a:lnTo>
                <a:cubicBezTo>
                  <a:pt x="136571" y="171871"/>
                  <a:pt x="139586" y="171871"/>
                  <a:pt x="141446" y="170012"/>
                </a:cubicBezTo>
                <a:lnTo>
                  <a:pt x="179546" y="131912"/>
                </a:lnTo>
                <a:cubicBezTo>
                  <a:pt x="181373" y="130020"/>
                  <a:pt x="181321" y="127004"/>
                  <a:pt x="179429" y="125178"/>
                </a:cubicBezTo>
                <a:cubicBezTo>
                  <a:pt x="177583" y="123395"/>
                  <a:pt x="174658" y="123395"/>
                  <a:pt x="172812" y="125178"/>
                </a:cubicBezTo>
                <a:lnTo>
                  <a:pt x="138074" y="159915"/>
                </a:lnTo>
                <a:lnTo>
                  <a:pt x="122396" y="144228"/>
                </a:lnTo>
                <a:close/>
                <a:moveTo>
                  <a:pt x="95421" y="114262"/>
                </a:moveTo>
                <a:cubicBezTo>
                  <a:pt x="92571" y="118716"/>
                  <a:pt x="90304" y="123517"/>
                  <a:pt x="88678" y="128549"/>
                </a:cubicBezTo>
                <a:lnTo>
                  <a:pt x="21422" y="128549"/>
                </a:lnTo>
                <a:cubicBezTo>
                  <a:pt x="17482" y="128544"/>
                  <a:pt x="14283" y="131734"/>
                  <a:pt x="14278" y="135674"/>
                </a:cubicBezTo>
                <a:cubicBezTo>
                  <a:pt x="14278" y="135681"/>
                  <a:pt x="14278" y="135686"/>
                  <a:pt x="14278" y="135693"/>
                </a:cubicBezTo>
                <a:lnTo>
                  <a:pt x="14278" y="141189"/>
                </a:lnTo>
                <a:cubicBezTo>
                  <a:pt x="14278" y="146294"/>
                  <a:pt x="16107" y="151228"/>
                  <a:pt x="19421" y="155105"/>
                </a:cubicBezTo>
                <a:cubicBezTo>
                  <a:pt x="31356" y="169088"/>
                  <a:pt x="50082" y="176193"/>
                  <a:pt x="76162" y="176193"/>
                </a:cubicBezTo>
                <a:cubicBezTo>
                  <a:pt x="81848" y="176193"/>
                  <a:pt x="87173" y="175851"/>
                  <a:pt x="92164" y="175184"/>
                </a:cubicBezTo>
                <a:cubicBezTo>
                  <a:pt x="94498" y="179899"/>
                  <a:pt x="97431" y="184261"/>
                  <a:pt x="100851" y="188195"/>
                </a:cubicBezTo>
                <a:cubicBezTo>
                  <a:pt x="93269" y="189719"/>
                  <a:pt x="85039" y="190481"/>
                  <a:pt x="76162" y="190481"/>
                </a:cubicBezTo>
                <a:cubicBezTo>
                  <a:pt x="46196" y="190481"/>
                  <a:pt x="23470" y="181861"/>
                  <a:pt x="8553" y="164382"/>
                </a:cubicBezTo>
                <a:cubicBezTo>
                  <a:pt x="3033" y="157916"/>
                  <a:pt x="0" y="149692"/>
                  <a:pt x="0" y="141189"/>
                </a:cubicBezTo>
                <a:lnTo>
                  <a:pt x="0" y="135693"/>
                </a:lnTo>
                <a:cubicBezTo>
                  <a:pt x="-5" y="123862"/>
                  <a:pt x="9581" y="114268"/>
                  <a:pt x="21412" y="114262"/>
                </a:cubicBezTo>
                <a:cubicBezTo>
                  <a:pt x="21415" y="114262"/>
                  <a:pt x="21419" y="114262"/>
                  <a:pt x="21422" y="114262"/>
                </a:cubicBezTo>
                <a:lnTo>
                  <a:pt x="95431" y="114262"/>
                </a:lnTo>
                <a:close/>
                <a:moveTo>
                  <a:pt x="76162" y="0"/>
                </a:moveTo>
                <a:cubicBezTo>
                  <a:pt x="102464" y="0"/>
                  <a:pt x="123787" y="21322"/>
                  <a:pt x="123787" y="47625"/>
                </a:cubicBezTo>
                <a:cubicBezTo>
                  <a:pt x="123787" y="73928"/>
                  <a:pt x="102464" y="95250"/>
                  <a:pt x="76162" y="95250"/>
                </a:cubicBezTo>
                <a:cubicBezTo>
                  <a:pt x="49859" y="95250"/>
                  <a:pt x="28537" y="73928"/>
                  <a:pt x="28537" y="47625"/>
                </a:cubicBezTo>
                <a:cubicBezTo>
                  <a:pt x="28537" y="21322"/>
                  <a:pt x="49859" y="0"/>
                  <a:pt x="76162" y="0"/>
                </a:cubicBezTo>
                <a:close/>
                <a:moveTo>
                  <a:pt x="76162" y="14288"/>
                </a:moveTo>
                <a:cubicBezTo>
                  <a:pt x="57750" y="14288"/>
                  <a:pt x="42824" y="29213"/>
                  <a:pt x="42824" y="47625"/>
                </a:cubicBezTo>
                <a:cubicBezTo>
                  <a:pt x="42824" y="66037"/>
                  <a:pt x="57750" y="80963"/>
                  <a:pt x="76162" y="80963"/>
                </a:cubicBezTo>
                <a:cubicBezTo>
                  <a:pt x="94574" y="80963"/>
                  <a:pt x="109499" y="66037"/>
                  <a:pt x="109499" y="47625"/>
                </a:cubicBezTo>
                <a:cubicBezTo>
                  <a:pt x="109499" y="29213"/>
                  <a:pt x="94574" y="14288"/>
                  <a:pt x="76162" y="14288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1580A570-95DA-212E-2C07-536881E151FB}"/>
              </a:ext>
            </a:extLst>
          </p:cNvPr>
          <p:cNvSpPr txBox="1">
            <a:spLocks/>
          </p:cNvSpPr>
          <p:nvPr/>
        </p:nvSpPr>
        <p:spPr>
          <a:xfrm>
            <a:off x="3844904" y="2663161"/>
            <a:ext cx="1890437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You control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your data</a:t>
            </a:r>
          </a:p>
        </p:txBody>
      </p:sp>
      <p:sp>
        <p:nvSpPr>
          <p:cNvPr id="186" name="Rectangle: Rounded Corners 185">
            <a:extLst>
              <a:ext uri="{FF2B5EF4-FFF2-40B4-BE49-F238E27FC236}">
                <a16:creationId xmlns:a16="http://schemas.microsoft.com/office/drawing/2014/main" id="{AD8C7984-EC48-D75E-6FEF-3EF296436C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08660" y="3853480"/>
            <a:ext cx="2629535" cy="2280464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199" name="Graphic 13">
            <a:extLst>
              <a:ext uri="{FF2B5EF4-FFF2-40B4-BE49-F238E27FC236}">
                <a16:creationId xmlns:a16="http://schemas.microsoft.com/office/drawing/2014/main" id="{8D5B27DC-3FEB-BF10-DE13-DB3496CD3B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70262" y="4313057"/>
            <a:ext cx="506332" cy="439766"/>
          </a:xfrm>
          <a:custGeom>
            <a:avLst/>
            <a:gdLst>
              <a:gd name="connsiteX0" fmla="*/ 52388 w 199822"/>
              <a:gd name="connsiteY0" fmla="*/ 68778 h 173552"/>
              <a:gd name="connsiteX1" fmla="*/ 104775 w 199822"/>
              <a:gd name="connsiteY1" fmla="*/ 121165 h 173552"/>
              <a:gd name="connsiteX2" fmla="*/ 52388 w 199822"/>
              <a:gd name="connsiteY2" fmla="*/ 173553 h 173552"/>
              <a:gd name="connsiteX3" fmla="*/ 0 w 199822"/>
              <a:gd name="connsiteY3" fmla="*/ 121165 h 173552"/>
              <a:gd name="connsiteX4" fmla="*/ 52388 w 199822"/>
              <a:gd name="connsiteY4" fmla="*/ 68778 h 173552"/>
              <a:gd name="connsiteX5" fmla="*/ 52388 w 199822"/>
              <a:gd name="connsiteY5" fmla="*/ 87809 h 173552"/>
              <a:gd name="connsiteX6" fmla="*/ 35776 w 199822"/>
              <a:gd name="connsiteY6" fmla="*/ 103115 h 173552"/>
              <a:gd name="connsiteX7" fmla="*/ 35719 w 199822"/>
              <a:gd name="connsiteY7" fmla="*/ 104477 h 173552"/>
              <a:gd name="connsiteX8" fmla="*/ 35719 w 199822"/>
              <a:gd name="connsiteY8" fmla="*/ 111916 h 173552"/>
              <a:gd name="connsiteX9" fmla="*/ 28642 w 199822"/>
              <a:gd name="connsiteY9" fmla="*/ 120051 h 173552"/>
              <a:gd name="connsiteX10" fmla="*/ 28575 w 199822"/>
              <a:gd name="connsiteY10" fmla="*/ 121146 h 173552"/>
              <a:gd name="connsiteX11" fmla="*/ 28575 w 199822"/>
              <a:gd name="connsiteY11" fmla="*/ 144959 h 173552"/>
              <a:gd name="connsiteX12" fmla="*/ 36986 w 199822"/>
              <a:gd name="connsiteY12" fmla="*/ 154417 h 173552"/>
              <a:gd name="connsiteX13" fmla="*/ 38100 w 199822"/>
              <a:gd name="connsiteY13" fmla="*/ 154484 h 173552"/>
              <a:gd name="connsiteX14" fmla="*/ 66675 w 199822"/>
              <a:gd name="connsiteY14" fmla="*/ 154484 h 173552"/>
              <a:gd name="connsiteX15" fmla="*/ 76133 w 199822"/>
              <a:gd name="connsiteY15" fmla="*/ 146073 h 173552"/>
              <a:gd name="connsiteX16" fmla="*/ 76200 w 199822"/>
              <a:gd name="connsiteY16" fmla="*/ 144959 h 173552"/>
              <a:gd name="connsiteX17" fmla="*/ 76200 w 199822"/>
              <a:gd name="connsiteY17" fmla="*/ 121146 h 173552"/>
              <a:gd name="connsiteX18" fmla="*/ 70066 w 199822"/>
              <a:gd name="connsiteY18" fmla="*/ 112240 h 173552"/>
              <a:gd name="connsiteX19" fmla="*/ 69066 w 199822"/>
              <a:gd name="connsiteY19" fmla="*/ 111926 h 173552"/>
              <a:gd name="connsiteX20" fmla="*/ 69056 w 199822"/>
              <a:gd name="connsiteY20" fmla="*/ 104477 h 173552"/>
              <a:gd name="connsiteX21" fmla="*/ 52388 w 199822"/>
              <a:gd name="connsiteY21" fmla="*/ 87809 h 173552"/>
              <a:gd name="connsiteX22" fmla="*/ 52388 w 199822"/>
              <a:gd name="connsiteY22" fmla="*/ 97334 h 173552"/>
              <a:gd name="connsiteX23" fmla="*/ 59465 w 199822"/>
              <a:gd name="connsiteY23" fmla="*/ 103506 h 173552"/>
              <a:gd name="connsiteX24" fmla="*/ 59531 w 199822"/>
              <a:gd name="connsiteY24" fmla="*/ 104477 h 173552"/>
              <a:gd name="connsiteX25" fmla="*/ 59531 w 199822"/>
              <a:gd name="connsiteY25" fmla="*/ 111621 h 173552"/>
              <a:gd name="connsiteX26" fmla="*/ 45244 w 199822"/>
              <a:gd name="connsiteY26" fmla="*/ 111621 h 173552"/>
              <a:gd name="connsiteX27" fmla="*/ 45244 w 199822"/>
              <a:gd name="connsiteY27" fmla="*/ 104477 h 173552"/>
              <a:gd name="connsiteX28" fmla="*/ 52388 w 199822"/>
              <a:gd name="connsiteY28" fmla="*/ 97334 h 173552"/>
              <a:gd name="connsiteX29" fmla="*/ 139475 w 199822"/>
              <a:gd name="connsiteY29" fmla="*/ 86113 h 173552"/>
              <a:gd name="connsiteX30" fmla="*/ 149685 w 199822"/>
              <a:gd name="connsiteY30" fmla="*/ 101182 h 173552"/>
              <a:gd name="connsiteX31" fmla="*/ 146325 w 199822"/>
              <a:gd name="connsiteY31" fmla="*/ 110710 h 173552"/>
              <a:gd name="connsiteX32" fmla="*/ 136797 w 199822"/>
              <a:gd name="connsiteY32" fmla="*/ 107349 h 173552"/>
              <a:gd name="connsiteX33" fmla="*/ 136608 w 199822"/>
              <a:gd name="connsiteY33" fmla="*/ 106916 h 173552"/>
              <a:gd name="connsiteX34" fmla="*/ 103508 w 199822"/>
              <a:gd name="connsiteY34" fmla="*/ 86237 h 173552"/>
              <a:gd name="connsiteX35" fmla="*/ 92126 w 199822"/>
              <a:gd name="connsiteY35" fmla="*/ 73683 h 173552"/>
              <a:gd name="connsiteX36" fmla="*/ 139475 w 199822"/>
              <a:gd name="connsiteY36" fmla="*/ 86104 h 173552"/>
              <a:gd name="connsiteX37" fmla="*/ 159496 w 199822"/>
              <a:gd name="connsiteY37" fmla="*/ 56871 h 173552"/>
              <a:gd name="connsiteX38" fmla="*/ 173707 w 199822"/>
              <a:gd name="connsiteY38" fmla="*/ 76588 h 173552"/>
              <a:gd name="connsiteX39" fmla="*/ 170832 w 199822"/>
              <a:gd name="connsiteY39" fmla="*/ 86273 h 173552"/>
              <a:gd name="connsiteX40" fmla="*/ 161147 w 199822"/>
              <a:gd name="connsiteY40" fmla="*/ 83398 h 173552"/>
              <a:gd name="connsiteX41" fmla="*/ 160992 w 199822"/>
              <a:gd name="connsiteY41" fmla="*/ 83094 h 173552"/>
              <a:gd name="connsiteX42" fmla="*/ 149390 w 199822"/>
              <a:gd name="connsiteY42" fmla="*/ 66977 h 173552"/>
              <a:gd name="connsiteX43" fmla="*/ 67704 w 199822"/>
              <a:gd name="connsiteY43" fmla="*/ 61158 h 173552"/>
              <a:gd name="connsiteX44" fmla="*/ 48511 w 199822"/>
              <a:gd name="connsiteY44" fmla="*/ 59367 h 173552"/>
              <a:gd name="connsiteX45" fmla="*/ 157000 w 199822"/>
              <a:gd name="connsiteY45" fmla="*/ 54484 h 173552"/>
              <a:gd name="connsiteX46" fmla="*/ 159496 w 199822"/>
              <a:gd name="connsiteY46" fmla="*/ 56871 h 173552"/>
              <a:gd name="connsiteX47" fmla="*/ 185242 w 199822"/>
              <a:gd name="connsiteY47" fmla="*/ 33335 h 173552"/>
              <a:gd name="connsiteX48" fmla="*/ 198653 w 199822"/>
              <a:gd name="connsiteY48" fmla="*/ 49499 h 173552"/>
              <a:gd name="connsiteX49" fmla="*/ 196591 w 199822"/>
              <a:gd name="connsiteY49" fmla="*/ 59389 h 173552"/>
              <a:gd name="connsiteX50" fmla="*/ 186900 w 199822"/>
              <a:gd name="connsiteY50" fmla="*/ 57614 h 173552"/>
              <a:gd name="connsiteX51" fmla="*/ 175146 w 199822"/>
              <a:gd name="connsiteY51" fmla="*/ 43432 h 173552"/>
              <a:gd name="connsiteX52" fmla="*/ 34404 w 199822"/>
              <a:gd name="connsiteY52" fmla="*/ 43432 h 173552"/>
              <a:gd name="connsiteX53" fmla="*/ 22765 w 199822"/>
              <a:gd name="connsiteY53" fmla="*/ 57567 h 173552"/>
              <a:gd name="connsiteX54" fmla="*/ 12866 w 199822"/>
              <a:gd name="connsiteY54" fmla="*/ 59587 h 173552"/>
              <a:gd name="connsiteX55" fmla="*/ 10846 w 199822"/>
              <a:gd name="connsiteY55" fmla="*/ 49688 h 173552"/>
              <a:gd name="connsiteX56" fmla="*/ 11030 w 199822"/>
              <a:gd name="connsiteY56" fmla="*/ 49423 h 173552"/>
              <a:gd name="connsiteX57" fmla="*/ 24308 w 199822"/>
              <a:gd name="connsiteY57" fmla="*/ 33326 h 173552"/>
              <a:gd name="connsiteX58" fmla="*/ 185242 w 199822"/>
              <a:gd name="connsiteY58" fmla="*/ 33326 h 173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99822" h="173552">
                <a:moveTo>
                  <a:pt x="52388" y="68778"/>
                </a:moveTo>
                <a:cubicBezTo>
                  <a:pt x="81320" y="68778"/>
                  <a:pt x="104775" y="92232"/>
                  <a:pt x="104775" y="121165"/>
                </a:cubicBezTo>
                <a:cubicBezTo>
                  <a:pt x="104775" y="150098"/>
                  <a:pt x="81320" y="173553"/>
                  <a:pt x="52388" y="173553"/>
                </a:cubicBezTo>
                <a:cubicBezTo>
                  <a:pt x="23455" y="173553"/>
                  <a:pt x="0" y="150098"/>
                  <a:pt x="0" y="121165"/>
                </a:cubicBezTo>
                <a:cubicBezTo>
                  <a:pt x="0" y="92232"/>
                  <a:pt x="23455" y="68778"/>
                  <a:pt x="52388" y="68778"/>
                </a:cubicBezTo>
                <a:close/>
                <a:moveTo>
                  <a:pt x="52388" y="87809"/>
                </a:moveTo>
                <a:cubicBezTo>
                  <a:pt x="43710" y="87810"/>
                  <a:pt x="36485" y="94468"/>
                  <a:pt x="35776" y="103115"/>
                </a:cubicBezTo>
                <a:lnTo>
                  <a:pt x="35719" y="104477"/>
                </a:lnTo>
                <a:lnTo>
                  <a:pt x="35719" y="111916"/>
                </a:lnTo>
                <a:cubicBezTo>
                  <a:pt x="31956" y="112888"/>
                  <a:pt x="29089" y="116107"/>
                  <a:pt x="28642" y="120051"/>
                </a:cubicBezTo>
                <a:lnTo>
                  <a:pt x="28575" y="121146"/>
                </a:lnTo>
                <a:lnTo>
                  <a:pt x="28575" y="144959"/>
                </a:lnTo>
                <a:cubicBezTo>
                  <a:pt x="28576" y="149788"/>
                  <a:pt x="32190" y="153852"/>
                  <a:pt x="36986" y="154417"/>
                </a:cubicBezTo>
                <a:lnTo>
                  <a:pt x="38100" y="154484"/>
                </a:lnTo>
                <a:lnTo>
                  <a:pt x="66675" y="154484"/>
                </a:lnTo>
                <a:cubicBezTo>
                  <a:pt x="71504" y="154483"/>
                  <a:pt x="75568" y="150869"/>
                  <a:pt x="76133" y="146073"/>
                </a:cubicBezTo>
                <a:lnTo>
                  <a:pt x="76200" y="144959"/>
                </a:lnTo>
                <a:lnTo>
                  <a:pt x="76200" y="121146"/>
                </a:lnTo>
                <a:cubicBezTo>
                  <a:pt x="76202" y="117192"/>
                  <a:pt x="73761" y="113648"/>
                  <a:pt x="70066" y="112240"/>
                </a:cubicBezTo>
                <a:lnTo>
                  <a:pt x="69066" y="111926"/>
                </a:lnTo>
                <a:lnTo>
                  <a:pt x="69056" y="104477"/>
                </a:lnTo>
                <a:cubicBezTo>
                  <a:pt x="69056" y="95271"/>
                  <a:pt x="61593" y="87809"/>
                  <a:pt x="52388" y="87809"/>
                </a:cubicBezTo>
                <a:close/>
                <a:moveTo>
                  <a:pt x="52388" y="97334"/>
                </a:moveTo>
                <a:cubicBezTo>
                  <a:pt x="55957" y="97334"/>
                  <a:pt x="58979" y="99969"/>
                  <a:pt x="59465" y="103506"/>
                </a:cubicBezTo>
                <a:lnTo>
                  <a:pt x="59531" y="104477"/>
                </a:lnTo>
                <a:lnTo>
                  <a:pt x="59531" y="111621"/>
                </a:lnTo>
                <a:lnTo>
                  <a:pt x="45244" y="111621"/>
                </a:lnTo>
                <a:lnTo>
                  <a:pt x="45244" y="104477"/>
                </a:lnTo>
                <a:cubicBezTo>
                  <a:pt x="45244" y="100532"/>
                  <a:pt x="48442" y="97334"/>
                  <a:pt x="52388" y="97334"/>
                </a:cubicBezTo>
                <a:close/>
                <a:moveTo>
                  <a:pt x="139475" y="86113"/>
                </a:moveTo>
                <a:cubicBezTo>
                  <a:pt x="143742" y="90371"/>
                  <a:pt x="147247" y="95610"/>
                  <a:pt x="149685" y="101182"/>
                </a:cubicBezTo>
                <a:cubicBezTo>
                  <a:pt x="151388" y="104740"/>
                  <a:pt x="149884" y="109006"/>
                  <a:pt x="146325" y="110710"/>
                </a:cubicBezTo>
                <a:cubicBezTo>
                  <a:pt x="142766" y="112413"/>
                  <a:pt x="138500" y="110908"/>
                  <a:pt x="136797" y="107349"/>
                </a:cubicBezTo>
                <a:cubicBezTo>
                  <a:pt x="136729" y="107207"/>
                  <a:pt x="136666" y="107062"/>
                  <a:pt x="136608" y="106916"/>
                </a:cubicBezTo>
                <a:cubicBezTo>
                  <a:pt x="130994" y="93772"/>
                  <a:pt x="117783" y="85519"/>
                  <a:pt x="103508" y="86237"/>
                </a:cubicBezTo>
                <a:cubicBezTo>
                  <a:pt x="100305" y="81553"/>
                  <a:pt x="96476" y="77328"/>
                  <a:pt x="92126" y="73683"/>
                </a:cubicBezTo>
                <a:cubicBezTo>
                  <a:pt x="108994" y="68966"/>
                  <a:pt x="127094" y="73714"/>
                  <a:pt x="139475" y="86104"/>
                </a:cubicBezTo>
                <a:close/>
                <a:moveTo>
                  <a:pt x="159496" y="56871"/>
                </a:moveTo>
                <a:cubicBezTo>
                  <a:pt x="165223" y="62671"/>
                  <a:pt x="170017" y="69322"/>
                  <a:pt x="173707" y="76588"/>
                </a:cubicBezTo>
                <a:cubicBezTo>
                  <a:pt x="175588" y="80056"/>
                  <a:pt x="174301" y="84393"/>
                  <a:pt x="170832" y="86273"/>
                </a:cubicBezTo>
                <a:cubicBezTo>
                  <a:pt x="167364" y="88153"/>
                  <a:pt x="163028" y="86867"/>
                  <a:pt x="161147" y="83398"/>
                </a:cubicBezTo>
                <a:cubicBezTo>
                  <a:pt x="161093" y="83298"/>
                  <a:pt x="161041" y="83197"/>
                  <a:pt x="160992" y="83094"/>
                </a:cubicBezTo>
                <a:cubicBezTo>
                  <a:pt x="157976" y="77157"/>
                  <a:pt x="154063" y="71721"/>
                  <a:pt x="149390" y="66977"/>
                </a:cubicBezTo>
                <a:cubicBezTo>
                  <a:pt x="127399" y="44990"/>
                  <a:pt x="92590" y="42510"/>
                  <a:pt x="67704" y="61158"/>
                </a:cubicBezTo>
                <a:cubicBezTo>
                  <a:pt x="61438" y="59569"/>
                  <a:pt x="54963" y="58965"/>
                  <a:pt x="48511" y="59367"/>
                </a:cubicBezTo>
                <a:cubicBezTo>
                  <a:pt x="77121" y="28060"/>
                  <a:pt x="125693" y="25874"/>
                  <a:pt x="157000" y="54484"/>
                </a:cubicBezTo>
                <a:cubicBezTo>
                  <a:pt x="157849" y="55261"/>
                  <a:pt x="158682" y="56057"/>
                  <a:pt x="159496" y="56871"/>
                </a:cubicBezTo>
                <a:close/>
                <a:moveTo>
                  <a:pt x="185242" y="33335"/>
                </a:moveTo>
                <a:cubicBezTo>
                  <a:pt x="190100" y="38183"/>
                  <a:pt x="194672" y="43717"/>
                  <a:pt x="198653" y="49499"/>
                </a:cubicBezTo>
                <a:cubicBezTo>
                  <a:pt x="200816" y="52799"/>
                  <a:pt x="199892" y="57228"/>
                  <a:pt x="196591" y="59389"/>
                </a:cubicBezTo>
                <a:cubicBezTo>
                  <a:pt x="193404" y="61477"/>
                  <a:pt x="189140" y="60696"/>
                  <a:pt x="186900" y="57614"/>
                </a:cubicBezTo>
                <a:cubicBezTo>
                  <a:pt x="183412" y="52545"/>
                  <a:pt x="179479" y="47799"/>
                  <a:pt x="175146" y="43432"/>
                </a:cubicBezTo>
                <a:cubicBezTo>
                  <a:pt x="136284" y="4570"/>
                  <a:pt x="73266" y="4570"/>
                  <a:pt x="34404" y="43432"/>
                </a:cubicBezTo>
                <a:cubicBezTo>
                  <a:pt x="30394" y="47451"/>
                  <a:pt x="26403" y="52328"/>
                  <a:pt x="22765" y="57567"/>
                </a:cubicBezTo>
                <a:cubicBezTo>
                  <a:pt x="20589" y="60858"/>
                  <a:pt x="16157" y="61762"/>
                  <a:pt x="12866" y="59587"/>
                </a:cubicBezTo>
                <a:cubicBezTo>
                  <a:pt x="9575" y="57411"/>
                  <a:pt x="8670" y="52979"/>
                  <a:pt x="10846" y="49688"/>
                </a:cubicBezTo>
                <a:cubicBezTo>
                  <a:pt x="10905" y="49598"/>
                  <a:pt x="10967" y="49510"/>
                  <a:pt x="11030" y="49423"/>
                </a:cubicBezTo>
                <a:cubicBezTo>
                  <a:pt x="15126" y="43517"/>
                  <a:pt x="19641" y="37993"/>
                  <a:pt x="24308" y="33326"/>
                </a:cubicBezTo>
                <a:cubicBezTo>
                  <a:pt x="68751" y="-11109"/>
                  <a:pt x="140799" y="-11109"/>
                  <a:pt x="185242" y="33326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B56687B8-F00B-EE18-0C2A-68CCA0EBD7DE}"/>
              </a:ext>
            </a:extLst>
          </p:cNvPr>
          <p:cNvSpPr txBox="1">
            <a:spLocks/>
          </p:cNvSpPr>
          <p:nvPr/>
        </p:nvSpPr>
        <p:spPr>
          <a:xfrm>
            <a:off x="846438" y="4950117"/>
            <a:ext cx="2353978" cy="73866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Your data is not used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to train or enrich foundation models</a:t>
            </a:r>
          </a:p>
        </p:txBody>
      </p:sp>
      <p:sp>
        <p:nvSpPr>
          <p:cNvPr id="219" name="Rectangle: Rounded Corners 218">
            <a:extLst>
              <a:ext uri="{FF2B5EF4-FFF2-40B4-BE49-F238E27FC236}">
                <a16:creationId xmlns:a16="http://schemas.microsoft.com/office/drawing/2014/main" id="{261B2DDB-C551-0175-6B72-9C5D31310F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3475355" y="3853479"/>
            <a:ext cx="2629535" cy="2280465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228" name="Graphic 81">
            <a:extLst>
              <a:ext uri="{FF2B5EF4-FFF2-40B4-BE49-F238E27FC236}">
                <a16:creationId xmlns:a16="http://schemas.microsoft.com/office/drawing/2014/main" id="{D081E328-2E43-87A4-ED90-5D56305AA8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55824" y="4298641"/>
            <a:ext cx="468596" cy="468596"/>
          </a:xfrm>
          <a:custGeom>
            <a:avLst/>
            <a:gdLst>
              <a:gd name="connsiteX0" fmla="*/ 228003 w 309156"/>
              <a:gd name="connsiteY0" fmla="*/ 0 h 309156"/>
              <a:gd name="connsiteX1" fmla="*/ 278241 w 309156"/>
              <a:gd name="connsiteY1" fmla="*/ 50238 h 309156"/>
              <a:gd name="connsiteX2" fmla="*/ 278241 w 309156"/>
              <a:gd name="connsiteY2" fmla="*/ 132172 h 309156"/>
              <a:gd name="connsiteX3" fmla="*/ 255054 w 309156"/>
              <a:gd name="connsiteY3" fmla="*/ 118174 h 309156"/>
              <a:gd name="connsiteX4" fmla="*/ 255054 w 309156"/>
              <a:gd name="connsiteY4" fmla="*/ 85018 h 309156"/>
              <a:gd name="connsiteX5" fmla="*/ 23187 w 309156"/>
              <a:gd name="connsiteY5" fmla="*/ 85018 h 309156"/>
              <a:gd name="connsiteX6" fmla="*/ 23187 w 309156"/>
              <a:gd name="connsiteY6" fmla="*/ 228003 h 309156"/>
              <a:gd name="connsiteX7" fmla="*/ 50238 w 309156"/>
              <a:gd name="connsiteY7" fmla="*/ 255054 h 309156"/>
              <a:gd name="connsiteX8" fmla="*/ 154578 w 309156"/>
              <a:gd name="connsiteY8" fmla="*/ 255054 h 309156"/>
              <a:gd name="connsiteX9" fmla="*/ 154578 w 309156"/>
              <a:gd name="connsiteY9" fmla="*/ 278241 h 309156"/>
              <a:gd name="connsiteX10" fmla="*/ 50238 w 309156"/>
              <a:gd name="connsiteY10" fmla="*/ 278241 h 309156"/>
              <a:gd name="connsiteX11" fmla="*/ 0 w 309156"/>
              <a:gd name="connsiteY11" fmla="*/ 228003 h 309156"/>
              <a:gd name="connsiteX12" fmla="*/ 0 w 309156"/>
              <a:gd name="connsiteY12" fmla="*/ 50238 h 309156"/>
              <a:gd name="connsiteX13" fmla="*/ 50238 w 309156"/>
              <a:gd name="connsiteY13" fmla="*/ 0 h 309156"/>
              <a:gd name="connsiteX14" fmla="*/ 228003 w 309156"/>
              <a:gd name="connsiteY14" fmla="*/ 0 h 309156"/>
              <a:gd name="connsiteX15" fmla="*/ 228003 w 309156"/>
              <a:gd name="connsiteY15" fmla="*/ 23187 h 309156"/>
              <a:gd name="connsiteX16" fmla="*/ 50238 w 309156"/>
              <a:gd name="connsiteY16" fmla="*/ 23187 h 309156"/>
              <a:gd name="connsiteX17" fmla="*/ 23187 w 309156"/>
              <a:gd name="connsiteY17" fmla="*/ 50238 h 309156"/>
              <a:gd name="connsiteX18" fmla="*/ 23187 w 309156"/>
              <a:gd name="connsiteY18" fmla="*/ 61831 h 309156"/>
              <a:gd name="connsiteX19" fmla="*/ 255054 w 309156"/>
              <a:gd name="connsiteY19" fmla="*/ 61831 h 309156"/>
              <a:gd name="connsiteX20" fmla="*/ 255054 w 309156"/>
              <a:gd name="connsiteY20" fmla="*/ 50238 h 309156"/>
              <a:gd name="connsiteX21" fmla="*/ 228003 w 309156"/>
              <a:gd name="connsiteY21" fmla="*/ 23187 h 309156"/>
              <a:gd name="connsiteX22" fmla="*/ 200952 w 309156"/>
              <a:gd name="connsiteY22" fmla="*/ 185494 h 309156"/>
              <a:gd name="connsiteX23" fmla="*/ 193223 w 309156"/>
              <a:gd name="connsiteY23" fmla="*/ 185494 h 309156"/>
              <a:gd name="connsiteX24" fmla="*/ 170036 w 309156"/>
              <a:gd name="connsiteY24" fmla="*/ 208681 h 309156"/>
              <a:gd name="connsiteX25" fmla="*/ 170036 w 309156"/>
              <a:gd name="connsiteY25" fmla="*/ 285970 h 309156"/>
              <a:gd name="connsiteX26" fmla="*/ 193223 w 309156"/>
              <a:gd name="connsiteY26" fmla="*/ 309157 h 309156"/>
              <a:gd name="connsiteX27" fmla="*/ 285970 w 309156"/>
              <a:gd name="connsiteY27" fmla="*/ 309157 h 309156"/>
              <a:gd name="connsiteX28" fmla="*/ 309157 w 309156"/>
              <a:gd name="connsiteY28" fmla="*/ 285970 h 309156"/>
              <a:gd name="connsiteX29" fmla="*/ 309157 w 309156"/>
              <a:gd name="connsiteY29" fmla="*/ 208681 h 309156"/>
              <a:gd name="connsiteX30" fmla="*/ 285970 w 309156"/>
              <a:gd name="connsiteY30" fmla="*/ 185494 h 309156"/>
              <a:gd name="connsiteX31" fmla="*/ 278241 w 309156"/>
              <a:gd name="connsiteY31" fmla="*/ 185494 h 309156"/>
              <a:gd name="connsiteX32" fmla="*/ 278241 w 309156"/>
              <a:gd name="connsiteY32" fmla="*/ 170036 h 309156"/>
              <a:gd name="connsiteX33" fmla="*/ 239596 w 309156"/>
              <a:gd name="connsiteY33" fmla="*/ 131392 h 309156"/>
              <a:gd name="connsiteX34" fmla="*/ 200952 w 309156"/>
              <a:gd name="connsiteY34" fmla="*/ 170036 h 309156"/>
              <a:gd name="connsiteX35" fmla="*/ 200952 w 309156"/>
              <a:gd name="connsiteY35" fmla="*/ 185494 h 309156"/>
              <a:gd name="connsiteX36" fmla="*/ 224139 w 309156"/>
              <a:gd name="connsiteY36" fmla="*/ 170036 h 309156"/>
              <a:gd name="connsiteX37" fmla="*/ 239596 w 309156"/>
              <a:gd name="connsiteY37" fmla="*/ 154578 h 309156"/>
              <a:gd name="connsiteX38" fmla="*/ 255054 w 309156"/>
              <a:gd name="connsiteY38" fmla="*/ 170036 h 309156"/>
              <a:gd name="connsiteX39" fmla="*/ 255054 w 309156"/>
              <a:gd name="connsiteY39" fmla="*/ 185494 h 309156"/>
              <a:gd name="connsiteX40" fmla="*/ 224139 w 309156"/>
              <a:gd name="connsiteY40" fmla="*/ 185494 h 309156"/>
              <a:gd name="connsiteX41" fmla="*/ 224139 w 309156"/>
              <a:gd name="connsiteY41" fmla="*/ 170036 h 309156"/>
              <a:gd name="connsiteX42" fmla="*/ 255054 w 309156"/>
              <a:gd name="connsiteY42" fmla="*/ 247325 h 309156"/>
              <a:gd name="connsiteX43" fmla="*/ 239596 w 309156"/>
              <a:gd name="connsiteY43" fmla="*/ 262783 h 309156"/>
              <a:gd name="connsiteX44" fmla="*/ 224139 w 309156"/>
              <a:gd name="connsiteY44" fmla="*/ 247325 h 309156"/>
              <a:gd name="connsiteX45" fmla="*/ 239596 w 309156"/>
              <a:gd name="connsiteY45" fmla="*/ 231868 h 309156"/>
              <a:gd name="connsiteX46" fmla="*/ 255054 w 309156"/>
              <a:gd name="connsiteY46" fmla="*/ 247325 h 309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309156" h="309156">
                <a:moveTo>
                  <a:pt x="228003" y="0"/>
                </a:moveTo>
                <a:cubicBezTo>
                  <a:pt x="255748" y="0"/>
                  <a:pt x="278241" y="22492"/>
                  <a:pt x="278241" y="50238"/>
                </a:cubicBezTo>
                <a:lnTo>
                  <a:pt x="278241" y="132172"/>
                </a:lnTo>
                <a:cubicBezTo>
                  <a:pt x="271905" y="125708"/>
                  <a:pt x="263961" y="120825"/>
                  <a:pt x="255054" y="118174"/>
                </a:cubicBezTo>
                <a:lnTo>
                  <a:pt x="255054" y="85018"/>
                </a:lnTo>
                <a:lnTo>
                  <a:pt x="23187" y="85018"/>
                </a:lnTo>
                <a:lnTo>
                  <a:pt x="23187" y="228003"/>
                </a:lnTo>
                <a:cubicBezTo>
                  <a:pt x="23187" y="242943"/>
                  <a:pt x="35298" y="255054"/>
                  <a:pt x="50238" y="255054"/>
                </a:cubicBezTo>
                <a:lnTo>
                  <a:pt x="154578" y="255054"/>
                </a:lnTo>
                <a:lnTo>
                  <a:pt x="154578" y="278241"/>
                </a:lnTo>
                <a:lnTo>
                  <a:pt x="50238" y="278241"/>
                </a:lnTo>
                <a:cubicBezTo>
                  <a:pt x="22492" y="278241"/>
                  <a:pt x="0" y="255748"/>
                  <a:pt x="0" y="228003"/>
                </a:cubicBezTo>
                <a:lnTo>
                  <a:pt x="0" y="50238"/>
                </a:lnTo>
                <a:cubicBezTo>
                  <a:pt x="0" y="22492"/>
                  <a:pt x="22492" y="0"/>
                  <a:pt x="50238" y="0"/>
                </a:cubicBezTo>
                <a:lnTo>
                  <a:pt x="228003" y="0"/>
                </a:lnTo>
                <a:close/>
                <a:moveTo>
                  <a:pt x="228003" y="23187"/>
                </a:moveTo>
                <a:lnTo>
                  <a:pt x="50238" y="23187"/>
                </a:lnTo>
                <a:cubicBezTo>
                  <a:pt x="35298" y="23187"/>
                  <a:pt x="23187" y="35298"/>
                  <a:pt x="23187" y="50238"/>
                </a:cubicBezTo>
                <a:lnTo>
                  <a:pt x="23187" y="61831"/>
                </a:lnTo>
                <a:lnTo>
                  <a:pt x="255054" y="61831"/>
                </a:lnTo>
                <a:lnTo>
                  <a:pt x="255054" y="50238"/>
                </a:lnTo>
                <a:cubicBezTo>
                  <a:pt x="255054" y="35298"/>
                  <a:pt x="242943" y="23187"/>
                  <a:pt x="228003" y="23187"/>
                </a:cubicBezTo>
                <a:close/>
                <a:moveTo>
                  <a:pt x="200952" y="185494"/>
                </a:moveTo>
                <a:lnTo>
                  <a:pt x="193223" y="185494"/>
                </a:lnTo>
                <a:cubicBezTo>
                  <a:pt x="180418" y="185494"/>
                  <a:pt x="170036" y="195875"/>
                  <a:pt x="170036" y="208681"/>
                </a:cubicBezTo>
                <a:lnTo>
                  <a:pt x="170036" y="285970"/>
                </a:lnTo>
                <a:cubicBezTo>
                  <a:pt x="170036" y="298775"/>
                  <a:pt x="180418" y="309157"/>
                  <a:pt x="193223" y="309157"/>
                </a:cubicBezTo>
                <a:lnTo>
                  <a:pt x="285970" y="309157"/>
                </a:lnTo>
                <a:cubicBezTo>
                  <a:pt x="298775" y="309157"/>
                  <a:pt x="309157" y="298775"/>
                  <a:pt x="309157" y="285970"/>
                </a:cubicBezTo>
                <a:lnTo>
                  <a:pt x="309157" y="208681"/>
                </a:lnTo>
                <a:cubicBezTo>
                  <a:pt x="309157" y="195875"/>
                  <a:pt x="298775" y="185494"/>
                  <a:pt x="285970" y="185494"/>
                </a:cubicBezTo>
                <a:lnTo>
                  <a:pt x="278241" y="185494"/>
                </a:lnTo>
                <a:lnTo>
                  <a:pt x="278241" y="170036"/>
                </a:lnTo>
                <a:cubicBezTo>
                  <a:pt x="278241" y="148694"/>
                  <a:pt x="260939" y="131392"/>
                  <a:pt x="239596" y="131392"/>
                </a:cubicBezTo>
                <a:cubicBezTo>
                  <a:pt x="218254" y="131392"/>
                  <a:pt x="200952" y="148694"/>
                  <a:pt x="200952" y="170036"/>
                </a:cubicBezTo>
                <a:lnTo>
                  <a:pt x="200952" y="185494"/>
                </a:lnTo>
                <a:close/>
                <a:moveTo>
                  <a:pt x="224139" y="170036"/>
                </a:moveTo>
                <a:cubicBezTo>
                  <a:pt x="224139" y="161499"/>
                  <a:pt x="231059" y="154578"/>
                  <a:pt x="239596" y="154578"/>
                </a:cubicBezTo>
                <a:cubicBezTo>
                  <a:pt x="248134" y="154578"/>
                  <a:pt x="255054" y="161499"/>
                  <a:pt x="255054" y="170036"/>
                </a:cubicBezTo>
                <a:lnTo>
                  <a:pt x="255054" y="185494"/>
                </a:lnTo>
                <a:lnTo>
                  <a:pt x="224139" y="185494"/>
                </a:lnTo>
                <a:lnTo>
                  <a:pt x="224139" y="170036"/>
                </a:lnTo>
                <a:close/>
                <a:moveTo>
                  <a:pt x="255054" y="247325"/>
                </a:moveTo>
                <a:cubicBezTo>
                  <a:pt x="255054" y="255863"/>
                  <a:pt x="248134" y="262783"/>
                  <a:pt x="239596" y="262783"/>
                </a:cubicBezTo>
                <a:cubicBezTo>
                  <a:pt x="231059" y="262783"/>
                  <a:pt x="224139" y="255863"/>
                  <a:pt x="224139" y="247325"/>
                </a:cubicBezTo>
                <a:cubicBezTo>
                  <a:pt x="224139" y="238788"/>
                  <a:pt x="231059" y="231868"/>
                  <a:pt x="239596" y="231868"/>
                </a:cubicBezTo>
                <a:cubicBezTo>
                  <a:pt x="248134" y="231868"/>
                  <a:pt x="255054" y="238788"/>
                  <a:pt x="255054" y="247325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5ADE1859-3CAB-B773-5167-20EB9F287901}"/>
              </a:ext>
            </a:extLst>
          </p:cNvPr>
          <p:cNvSpPr txBox="1">
            <a:spLocks/>
          </p:cNvSpPr>
          <p:nvPr/>
        </p:nvSpPr>
        <p:spPr>
          <a:xfrm>
            <a:off x="3613133" y="4950117"/>
            <a:ext cx="235397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1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You’re protected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against AI security and copyright risks</a:t>
            </a:r>
            <a:r>
              <a:rPr kumimoji="0" lang="en-US" sz="1600" b="0" i="0" u="none" strike="noStrike" kern="0" cap="none" spc="0" normalizeH="0" baseline="3000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1</a:t>
            </a:r>
            <a:endParaRPr kumimoji="0" lang="en-US" sz="1600" b="0" i="0" u="none" strike="noStrike" kern="1200" cap="none" spc="0" normalizeH="0" baseline="0" noProof="0">
              <a:ln w="3175"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690C55FD-B5A1-660A-23C1-4A3EED3E34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571500" y="6541569"/>
            <a:ext cx="39116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1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 more about the Customer Copyright Commitmen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AD11A788-4DFE-A49D-A9D7-97028B53E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853921" y="1057122"/>
            <a:ext cx="4769754" cy="4769754"/>
          </a:xfrm>
          <a:prstGeom prst="ellipse">
            <a:avLst/>
          </a:prstGeom>
          <a:gradFill flip="none" rotWithShape="1">
            <a:gsLst>
              <a:gs pos="0">
                <a:schemeClr val="accent3"/>
              </a:gs>
              <a:gs pos="31000">
                <a:srgbClr val="D361FF"/>
              </a:gs>
              <a:gs pos="100000">
                <a:schemeClr val="accent1"/>
              </a:gs>
              <a:gs pos="67000">
                <a:srgbClr val="2CB1FE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255" name="Oval 254">
            <a:extLst>
              <a:ext uri="{FF2B5EF4-FFF2-40B4-BE49-F238E27FC236}">
                <a16:creationId xmlns:a16="http://schemas.microsoft.com/office/drawing/2014/main" id="{9B9BF035-2FE0-3590-0750-B3F49ABB07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012034" y="1215235"/>
            <a:ext cx="4453524" cy="4453524"/>
          </a:xfrm>
          <a:prstGeom prst="ellipse">
            <a:avLst/>
          </a:prstGeom>
          <a:solidFill>
            <a:schemeClr val="bg1"/>
          </a:solidFill>
        </p:spPr>
        <p:txBody>
          <a:bodyPr wrap="square" lIns="146957" tIns="25718" rIns="146957" bIns="27432" rtlCol="0" anchor="ctr">
            <a:noAutofit/>
          </a:bodyPr>
          <a:lstStyle/>
          <a:p>
            <a:pPr marL="0" marR="0" lvl="0" indent="0" algn="ctr" defTabSz="227585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endParaRPr kumimoji="0" lang="en-US" sz="1800" b="0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258" name="Picture 257" descr="Copilot M365 logo">
            <a:extLst>
              <a:ext uri="{FF2B5EF4-FFF2-40B4-BE49-F238E27FC236}">
                <a16:creationId xmlns:a16="http://schemas.microsoft.com/office/drawing/2014/main" id="{02E850B5-23FF-0168-531C-842638977E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751" y="1999809"/>
            <a:ext cx="1176089" cy="1188830"/>
          </a:xfrm>
          <a:prstGeom prst="rect">
            <a:avLst/>
          </a:prstGeom>
        </p:spPr>
      </p:pic>
      <p:sp>
        <p:nvSpPr>
          <p:cNvPr id="260" name="Title 1">
            <a:extLst>
              <a:ext uri="{FF2B5EF4-FFF2-40B4-BE49-F238E27FC236}">
                <a16:creationId xmlns:a16="http://schemas.microsoft.com/office/drawing/2014/main" id="{4639D9E3-8D0B-AA8B-D740-B483D821EF0C}"/>
              </a:ext>
            </a:extLst>
          </p:cNvPr>
          <p:cNvSpPr txBox="1">
            <a:spLocks/>
          </p:cNvSpPr>
          <p:nvPr/>
        </p:nvSpPr>
        <p:spPr>
          <a:xfrm>
            <a:off x="7584271" y="3346753"/>
            <a:ext cx="3309051" cy="15374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Microsoft 365 Copilot is built on trust</a:t>
            </a:r>
          </a:p>
        </p:txBody>
      </p:sp>
    </p:spTree>
    <p:extLst>
      <p:ext uri="{BB962C8B-B14F-4D97-AF65-F5344CB8AC3E}">
        <p14:creationId xmlns:p14="http://schemas.microsoft.com/office/powerpoint/2010/main" val="434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0B84A3-B4B2-39BE-180D-01C6C5B00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1C628D0-9A77-1351-3BAE-6935FF73CD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832" y="0"/>
            <a:ext cx="12192000" cy="6858000"/>
            <a:chOff x="0" y="0"/>
            <a:chExt cx="12192000" cy="685800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00C02AC4-EB95-449F-5D49-0847DD1380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55" r="305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4602372-8BBA-B3CF-0FFA-6DCD96A503F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1" y="0"/>
              <a:ext cx="12191998" cy="68580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</p:grp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50B80451-1BF5-EE48-90B1-132E9ECD89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0" y="1400537"/>
            <a:ext cx="6853920" cy="4082924"/>
          </a:xfrm>
          <a:custGeom>
            <a:avLst/>
            <a:gdLst>
              <a:gd name="connsiteX0" fmla="*/ 166093 w 8041579"/>
              <a:gd name="connsiteY0" fmla="*/ 0 h 4866478"/>
              <a:gd name="connsiteX1" fmla="*/ 8041579 w 8041579"/>
              <a:gd name="connsiteY1" fmla="*/ 0 h 4866478"/>
              <a:gd name="connsiteX2" fmla="*/ 8041579 w 8041579"/>
              <a:gd name="connsiteY2" fmla="*/ 4866478 h 4866478"/>
              <a:gd name="connsiteX3" fmla="*/ 166093 w 8041579"/>
              <a:gd name="connsiteY3" fmla="*/ 4866478 h 4866478"/>
              <a:gd name="connsiteX4" fmla="*/ 0 w 8041579"/>
              <a:gd name="connsiteY4" fmla="*/ 4700385 h 4866478"/>
              <a:gd name="connsiteX5" fmla="*/ 0 w 8041579"/>
              <a:gd name="connsiteY5" fmla="*/ 166093 h 4866478"/>
              <a:gd name="connsiteX6" fmla="*/ 166093 w 8041579"/>
              <a:gd name="connsiteY6" fmla="*/ 0 h 4866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41579" h="4866478">
                <a:moveTo>
                  <a:pt x="166093" y="0"/>
                </a:moveTo>
                <a:lnTo>
                  <a:pt x="8041579" y="0"/>
                </a:lnTo>
                <a:lnTo>
                  <a:pt x="8041579" y="4866478"/>
                </a:lnTo>
                <a:lnTo>
                  <a:pt x="166093" y="4866478"/>
                </a:lnTo>
                <a:cubicBezTo>
                  <a:pt x="74362" y="4866478"/>
                  <a:pt x="0" y="4792116"/>
                  <a:pt x="0" y="4700385"/>
                </a:cubicBezTo>
                <a:lnTo>
                  <a:pt x="0" y="166093"/>
                </a:lnTo>
                <a:cubicBezTo>
                  <a:pt x="0" y="74362"/>
                  <a:pt x="74362" y="0"/>
                  <a:pt x="166093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  <a:alpha val="50000"/>
            </a:schemeClr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rtlCol="0" anchor="ctr" anchorCtr="0">
            <a:noAutofit/>
          </a:bodyPr>
          <a:lstStyle/>
          <a:p>
            <a:pPr marL="228600" marR="0" lvl="0" indent="-22860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EB5E6C1-C172-C8F4-8842-74CFB4C86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1500" y="1057122"/>
            <a:ext cx="4769754" cy="4769754"/>
          </a:xfrm>
          <a:prstGeom prst="ellipse">
            <a:avLst/>
          </a:prstGeom>
          <a:gradFill flip="none" rotWithShape="1">
            <a:gsLst>
              <a:gs pos="0">
                <a:schemeClr val="accent3"/>
              </a:gs>
              <a:gs pos="31000">
                <a:srgbClr val="D361FF"/>
              </a:gs>
              <a:gs pos="100000">
                <a:schemeClr val="accent1"/>
              </a:gs>
              <a:gs pos="67000">
                <a:srgbClr val="2CB1FE"/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A2BC438-521F-3453-F63F-99A4E5D901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9613" y="1215235"/>
            <a:ext cx="4453524" cy="4453524"/>
          </a:xfrm>
          <a:prstGeom prst="ellipse">
            <a:avLst/>
          </a:prstGeom>
          <a:solidFill>
            <a:schemeClr val="bg1"/>
          </a:solidFill>
        </p:spPr>
        <p:txBody>
          <a:bodyPr wrap="square" lIns="146957" tIns="25718" rIns="146957" bIns="27432" rtlCol="0" anchor="ctr">
            <a:noAutofit/>
          </a:bodyPr>
          <a:lstStyle/>
          <a:p>
            <a:pPr marL="0" marR="0" lvl="0" indent="0" algn="ctr" defTabSz="227585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endParaRPr kumimoji="0" lang="en-US" sz="1800" b="0" i="0" u="none" strike="noStrike" kern="1200" cap="none" spc="0" normalizeH="0" baseline="0" noProof="0">
              <a:ln w="3175">
                <a:noFill/>
              </a:ln>
              <a:gradFill>
                <a:gsLst>
                  <a:gs pos="53147">
                    <a:srgbClr val="FFFFFF"/>
                  </a:gs>
                  <a:gs pos="28000">
                    <a:srgbClr val="FFFFFF"/>
                  </a:gs>
                </a:gsLst>
                <a:path path="circle">
                  <a:fillToRect l="100000" b="100000"/>
                </a:path>
              </a:gradFill>
              <a:effectLst/>
              <a:uLnTx/>
              <a:uFillTx/>
              <a:latin typeface="Segoe UI Semibold"/>
              <a:ea typeface="+mn-ea"/>
              <a:cs typeface="Segoe UI" pitchFamily="34" charset="0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746D2D23-230F-1B29-961D-88EB72537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8330" y="1999809"/>
            <a:ext cx="1176089" cy="1188830"/>
          </a:xfrm>
          <a:prstGeom prst="rect">
            <a:avLst/>
          </a:prstGeom>
        </p:spPr>
      </p:pic>
      <p:sp>
        <p:nvSpPr>
          <p:cNvPr id="45" name="Rectangle: Rounded Corners 34">
            <a:extLst>
              <a:ext uri="{FF2B5EF4-FFF2-40B4-BE49-F238E27FC236}">
                <a16:creationId xmlns:a16="http://schemas.microsoft.com/office/drawing/2014/main" id="{B9FE6027-A2EE-5F7C-5A11-C7A4FF5972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953125" y="909889"/>
            <a:ext cx="5670550" cy="5067249"/>
          </a:xfrm>
          <a:prstGeom prst="roundRect">
            <a:avLst>
              <a:gd name="adj" fmla="val 2971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C587D526-73FA-513F-211E-216A251B50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6090284" y="3107929"/>
            <a:ext cx="1707303" cy="2704942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5848388E-B6F0-FDAF-F130-75D07EE28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934747" y="3107929"/>
            <a:ext cx="1707303" cy="2704942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D045BBD7-46D8-75C1-8828-ABEDE984C9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9779210" y="3107929"/>
            <a:ext cx="1707303" cy="2704942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9F5C82-1ECA-7AC8-73E5-9B01A9A98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-730453"/>
            <a:ext cx="11052046" cy="492443"/>
          </a:xfrm>
        </p:spPr>
        <p:txBody>
          <a:bodyPr>
            <a:noAutofit/>
          </a:bodyPr>
          <a:lstStyle/>
          <a:p>
            <a:r>
              <a:rPr lang="en-US"/>
              <a:t>Foundational AI Commitments 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E5AA8979-7372-D2EF-E14B-732FC550B874}"/>
              </a:ext>
            </a:extLst>
          </p:cNvPr>
          <p:cNvSpPr txBox="1">
            <a:spLocks/>
          </p:cNvSpPr>
          <p:nvPr/>
        </p:nvSpPr>
        <p:spPr>
          <a:xfrm>
            <a:off x="1301850" y="3346753"/>
            <a:ext cx="3309051" cy="15374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Microsoft 365 Copilot is built on trust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26CDA31-F10B-89A4-E3A1-B75EC712FED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090285" y="1074158"/>
            <a:ext cx="5396230" cy="884675"/>
          </a:xfrm>
          <a:prstGeom prst="roundRect">
            <a:avLst>
              <a:gd name="adj" fmla="val 11059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2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Tools to manage Copilot + agen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BDE2E97-4848-54CF-0782-F1E187C412F2}"/>
              </a:ext>
            </a:extLst>
          </p:cNvPr>
          <p:cNvSpPr txBox="1">
            <a:spLocks/>
          </p:cNvSpPr>
          <p:nvPr/>
        </p:nvSpPr>
        <p:spPr>
          <a:xfrm>
            <a:off x="6090282" y="2379492"/>
            <a:ext cx="5396232" cy="307777"/>
          </a:xfrm>
          <a:prstGeom prst="rect">
            <a:avLst/>
          </a:prstGeom>
          <a:noFill/>
          <a:ln w="19050" cap="rnd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 kumimoji="0" sz="7200" b="0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0">
                      <a:srgbClr val="C03BC4"/>
                    </a:gs>
                    <a:gs pos="99000">
                      <a:srgbClr val="0078D4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20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Segoe UI Semibold" panose="020B0502040204020203" pitchFamily="34" charset="0"/>
              </a:rPr>
              <a:t>Copilot control System</a:t>
            </a:r>
          </a:p>
        </p:txBody>
      </p:sp>
      <p:sp>
        <p:nvSpPr>
          <p:cNvPr id="56" name="Graphic 55">
            <a:extLst>
              <a:ext uri="{FF2B5EF4-FFF2-40B4-BE49-F238E27FC236}">
                <a16:creationId xmlns:a16="http://schemas.microsoft.com/office/drawing/2014/main" id="{63C8F0E9-41B4-A9BE-B0C5-65E404AAC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26265" y="3786562"/>
            <a:ext cx="435342" cy="483712"/>
          </a:xfrm>
          <a:custGeom>
            <a:avLst/>
            <a:gdLst>
              <a:gd name="connsiteX0" fmla="*/ 339367 w 444042"/>
              <a:gd name="connsiteY0" fmla="*/ 180155 h 493380"/>
              <a:gd name="connsiteX1" fmla="*/ 340504 w 444042"/>
              <a:gd name="connsiteY1" fmla="*/ 154014 h 493380"/>
              <a:gd name="connsiteX2" fmla="*/ 314363 w 444042"/>
              <a:gd name="connsiteY2" fmla="*/ 152878 h 493380"/>
              <a:gd name="connsiteX3" fmla="*/ 179408 w 444042"/>
              <a:gd name="connsiteY3" fmla="*/ 276587 h 493380"/>
              <a:gd name="connsiteX4" fmla="*/ 130261 w 444042"/>
              <a:gd name="connsiteY4" fmla="*/ 227441 h 493380"/>
              <a:gd name="connsiteX5" fmla="*/ 104095 w 444042"/>
              <a:gd name="connsiteY5" fmla="*/ 227441 h 493380"/>
              <a:gd name="connsiteX6" fmla="*/ 104095 w 444042"/>
              <a:gd name="connsiteY6" fmla="*/ 253605 h 493380"/>
              <a:gd name="connsiteX7" fmla="*/ 165768 w 444042"/>
              <a:gd name="connsiteY7" fmla="*/ 315278 h 493380"/>
              <a:gd name="connsiteX8" fmla="*/ 191353 w 444042"/>
              <a:gd name="connsiteY8" fmla="*/ 315835 h 493380"/>
              <a:gd name="connsiteX9" fmla="*/ 339367 w 444042"/>
              <a:gd name="connsiteY9" fmla="*/ 180155 h 493380"/>
              <a:gd name="connsiteX10" fmla="*/ 425541 w 444042"/>
              <a:gd name="connsiteY10" fmla="*/ 74007 h 493380"/>
              <a:gd name="connsiteX11" fmla="*/ 233122 w 444042"/>
              <a:gd name="connsiteY11" fmla="*/ 3700 h 493380"/>
              <a:gd name="connsiteX12" fmla="*/ 210920 w 444042"/>
              <a:gd name="connsiteY12" fmla="*/ 3700 h 493380"/>
              <a:gd name="connsiteX13" fmla="*/ 18502 w 444042"/>
              <a:gd name="connsiteY13" fmla="*/ 74007 h 493380"/>
              <a:gd name="connsiteX14" fmla="*/ 0 w 444042"/>
              <a:gd name="connsiteY14" fmla="*/ 92509 h 493380"/>
              <a:gd name="connsiteX15" fmla="*/ 0 w 444042"/>
              <a:gd name="connsiteY15" fmla="*/ 222021 h 493380"/>
              <a:gd name="connsiteX16" fmla="*/ 215240 w 444042"/>
              <a:gd name="connsiteY16" fmla="*/ 492093 h 493380"/>
              <a:gd name="connsiteX17" fmla="*/ 228803 w 444042"/>
              <a:gd name="connsiteY17" fmla="*/ 492093 h 493380"/>
              <a:gd name="connsiteX18" fmla="*/ 444043 w 444042"/>
              <a:gd name="connsiteY18" fmla="*/ 222021 h 493380"/>
              <a:gd name="connsiteX19" fmla="*/ 444043 w 444042"/>
              <a:gd name="connsiteY19" fmla="*/ 92509 h 493380"/>
              <a:gd name="connsiteX20" fmla="*/ 425541 w 444042"/>
              <a:gd name="connsiteY20" fmla="*/ 74007 h 493380"/>
              <a:gd name="connsiteX21" fmla="*/ 37004 w 444042"/>
              <a:gd name="connsiteY21" fmla="*/ 110466 h 493380"/>
              <a:gd name="connsiteX22" fmla="*/ 222021 w 444042"/>
              <a:gd name="connsiteY22" fmla="*/ 41390 h 493380"/>
              <a:gd name="connsiteX23" fmla="*/ 407039 w 444042"/>
              <a:gd name="connsiteY23" fmla="*/ 110466 h 493380"/>
              <a:gd name="connsiteX24" fmla="*/ 407039 w 444042"/>
              <a:gd name="connsiteY24" fmla="*/ 222021 h 493380"/>
              <a:gd name="connsiteX25" fmla="*/ 222021 w 444042"/>
              <a:gd name="connsiteY25" fmla="*/ 454944 h 493380"/>
              <a:gd name="connsiteX26" fmla="*/ 37004 w 444042"/>
              <a:gd name="connsiteY26" fmla="*/ 222021 h 493380"/>
              <a:gd name="connsiteX27" fmla="*/ 37004 w 444042"/>
              <a:gd name="connsiteY27" fmla="*/ 110466 h 49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44042" h="493380">
                <a:moveTo>
                  <a:pt x="339367" y="180155"/>
                </a:moveTo>
                <a:cubicBezTo>
                  <a:pt x="346899" y="173250"/>
                  <a:pt x="347409" y="161546"/>
                  <a:pt x="340504" y="154014"/>
                </a:cubicBezTo>
                <a:cubicBezTo>
                  <a:pt x="333599" y="146482"/>
                  <a:pt x="321894" y="145973"/>
                  <a:pt x="314363" y="152878"/>
                </a:cubicBezTo>
                <a:lnTo>
                  <a:pt x="179408" y="276587"/>
                </a:lnTo>
                <a:lnTo>
                  <a:pt x="130261" y="227441"/>
                </a:lnTo>
                <a:cubicBezTo>
                  <a:pt x="123035" y="220216"/>
                  <a:pt x="111321" y="220216"/>
                  <a:pt x="104095" y="227441"/>
                </a:cubicBezTo>
                <a:cubicBezTo>
                  <a:pt x="96870" y="234667"/>
                  <a:pt x="96870" y="246380"/>
                  <a:pt x="104095" y="253605"/>
                </a:cubicBezTo>
                <a:lnTo>
                  <a:pt x="165768" y="315278"/>
                </a:lnTo>
                <a:cubicBezTo>
                  <a:pt x="172772" y="322284"/>
                  <a:pt x="184051" y="322528"/>
                  <a:pt x="191353" y="315835"/>
                </a:cubicBezTo>
                <a:lnTo>
                  <a:pt x="339367" y="180155"/>
                </a:lnTo>
                <a:close/>
                <a:moveTo>
                  <a:pt x="425541" y="74007"/>
                </a:moveTo>
                <a:cubicBezTo>
                  <a:pt x="359837" y="74007"/>
                  <a:pt x="295831" y="50732"/>
                  <a:pt x="233122" y="3700"/>
                </a:cubicBezTo>
                <a:cubicBezTo>
                  <a:pt x="226543" y="-1233"/>
                  <a:pt x="217500" y="-1233"/>
                  <a:pt x="210920" y="3700"/>
                </a:cubicBezTo>
                <a:cubicBezTo>
                  <a:pt x="148211" y="50732"/>
                  <a:pt x="84206" y="74007"/>
                  <a:pt x="18502" y="74007"/>
                </a:cubicBezTo>
                <a:cubicBezTo>
                  <a:pt x="8284" y="74007"/>
                  <a:pt x="0" y="82291"/>
                  <a:pt x="0" y="92509"/>
                </a:cubicBezTo>
                <a:lnTo>
                  <a:pt x="0" y="222021"/>
                </a:lnTo>
                <a:cubicBezTo>
                  <a:pt x="0" y="345396"/>
                  <a:pt x="72960" y="436043"/>
                  <a:pt x="215240" y="492093"/>
                </a:cubicBezTo>
                <a:cubicBezTo>
                  <a:pt x="219599" y="493810"/>
                  <a:pt x="224444" y="493810"/>
                  <a:pt x="228803" y="492093"/>
                </a:cubicBezTo>
                <a:cubicBezTo>
                  <a:pt x="371082" y="436043"/>
                  <a:pt x="444043" y="345396"/>
                  <a:pt x="444043" y="222021"/>
                </a:cubicBezTo>
                <a:lnTo>
                  <a:pt x="444043" y="92509"/>
                </a:lnTo>
                <a:cubicBezTo>
                  <a:pt x="444043" y="82291"/>
                  <a:pt x="435759" y="74007"/>
                  <a:pt x="425541" y="74007"/>
                </a:cubicBezTo>
                <a:close/>
                <a:moveTo>
                  <a:pt x="37004" y="110466"/>
                </a:moveTo>
                <a:cubicBezTo>
                  <a:pt x="100584" y="106715"/>
                  <a:pt x="162343" y="83586"/>
                  <a:pt x="222021" y="41390"/>
                </a:cubicBezTo>
                <a:cubicBezTo>
                  <a:pt x="281701" y="83586"/>
                  <a:pt x="343460" y="106715"/>
                  <a:pt x="407039" y="110466"/>
                </a:cubicBezTo>
                <a:lnTo>
                  <a:pt x="407039" y="222021"/>
                </a:lnTo>
                <a:cubicBezTo>
                  <a:pt x="407039" y="327003"/>
                  <a:pt x="346516" y="404052"/>
                  <a:pt x="222021" y="454944"/>
                </a:cubicBezTo>
                <a:cubicBezTo>
                  <a:pt x="97526" y="404052"/>
                  <a:pt x="37004" y="327003"/>
                  <a:pt x="37004" y="222021"/>
                </a:cubicBezTo>
                <a:lnTo>
                  <a:pt x="37004" y="110466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72" name="Graphic 124">
            <a:extLst>
              <a:ext uri="{FF2B5EF4-FFF2-40B4-BE49-F238E27FC236}">
                <a16:creationId xmlns:a16="http://schemas.microsoft.com/office/drawing/2014/main" id="{EF5D0296-0374-4B3D-E2E0-67DACEDBF0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14107" y="3809663"/>
            <a:ext cx="437509" cy="437511"/>
          </a:xfrm>
          <a:custGeom>
            <a:avLst/>
            <a:gdLst>
              <a:gd name="connsiteX0" fmla="*/ 234937 w 318558"/>
              <a:gd name="connsiteY0" fmla="*/ 0 h 318558"/>
              <a:gd name="connsiteX1" fmla="*/ 286703 w 318558"/>
              <a:gd name="connsiteY1" fmla="*/ 51766 h 318558"/>
              <a:gd name="connsiteX2" fmla="*/ 286703 w 318558"/>
              <a:gd name="connsiteY2" fmla="*/ 160076 h 318558"/>
              <a:gd name="connsiteX3" fmla="*/ 270775 w 318558"/>
              <a:gd name="connsiteY3" fmla="*/ 167240 h 318558"/>
              <a:gd name="connsiteX4" fmla="*/ 262811 w 318558"/>
              <a:gd name="connsiteY4" fmla="*/ 143348 h 318558"/>
              <a:gd name="connsiteX5" fmla="*/ 262811 w 318558"/>
              <a:gd name="connsiteY5" fmla="*/ 87604 h 318558"/>
              <a:gd name="connsiteX6" fmla="*/ 23892 w 318558"/>
              <a:gd name="connsiteY6" fmla="*/ 87604 h 318558"/>
              <a:gd name="connsiteX7" fmla="*/ 23892 w 318558"/>
              <a:gd name="connsiteY7" fmla="*/ 234937 h 318558"/>
              <a:gd name="connsiteX8" fmla="*/ 51766 w 318558"/>
              <a:gd name="connsiteY8" fmla="*/ 262811 h 318558"/>
              <a:gd name="connsiteX9" fmla="*/ 127423 w 318558"/>
              <a:gd name="connsiteY9" fmla="*/ 262811 h 318558"/>
              <a:gd name="connsiteX10" fmla="*/ 127423 w 318558"/>
              <a:gd name="connsiteY10" fmla="*/ 286703 h 318558"/>
              <a:gd name="connsiteX11" fmla="*/ 51766 w 318558"/>
              <a:gd name="connsiteY11" fmla="*/ 286703 h 318558"/>
              <a:gd name="connsiteX12" fmla="*/ 0 w 318558"/>
              <a:gd name="connsiteY12" fmla="*/ 234937 h 318558"/>
              <a:gd name="connsiteX13" fmla="*/ 0 w 318558"/>
              <a:gd name="connsiteY13" fmla="*/ 51766 h 318558"/>
              <a:gd name="connsiteX14" fmla="*/ 51766 w 318558"/>
              <a:gd name="connsiteY14" fmla="*/ 0 h 318558"/>
              <a:gd name="connsiteX15" fmla="*/ 234937 w 318558"/>
              <a:gd name="connsiteY15" fmla="*/ 0 h 318558"/>
              <a:gd name="connsiteX16" fmla="*/ 234937 w 318558"/>
              <a:gd name="connsiteY16" fmla="*/ 23892 h 318558"/>
              <a:gd name="connsiteX17" fmla="*/ 51766 w 318558"/>
              <a:gd name="connsiteY17" fmla="*/ 23892 h 318558"/>
              <a:gd name="connsiteX18" fmla="*/ 23892 w 318558"/>
              <a:gd name="connsiteY18" fmla="*/ 51766 h 318558"/>
              <a:gd name="connsiteX19" fmla="*/ 23892 w 318558"/>
              <a:gd name="connsiteY19" fmla="*/ 63712 h 318558"/>
              <a:gd name="connsiteX20" fmla="*/ 262811 w 318558"/>
              <a:gd name="connsiteY20" fmla="*/ 63712 h 318558"/>
              <a:gd name="connsiteX21" fmla="*/ 262811 w 318558"/>
              <a:gd name="connsiteY21" fmla="*/ 51766 h 318558"/>
              <a:gd name="connsiteX22" fmla="*/ 234937 w 318558"/>
              <a:gd name="connsiteY22" fmla="*/ 23892 h 318558"/>
              <a:gd name="connsiteX23" fmla="*/ 230955 w 318558"/>
              <a:gd name="connsiteY23" fmla="*/ 143351 h 318558"/>
              <a:gd name="connsiteX24" fmla="*/ 207063 w 318558"/>
              <a:gd name="connsiteY24" fmla="*/ 167243 h 318558"/>
              <a:gd name="connsiteX25" fmla="*/ 207063 w 318558"/>
              <a:gd name="connsiteY25" fmla="*/ 294666 h 318558"/>
              <a:gd name="connsiteX26" fmla="*/ 230955 w 318558"/>
              <a:gd name="connsiteY26" fmla="*/ 318558 h 318558"/>
              <a:gd name="connsiteX27" fmla="*/ 254847 w 318558"/>
              <a:gd name="connsiteY27" fmla="*/ 294666 h 318558"/>
              <a:gd name="connsiteX28" fmla="*/ 254847 w 318558"/>
              <a:gd name="connsiteY28" fmla="*/ 167243 h 318558"/>
              <a:gd name="connsiteX29" fmla="*/ 230955 w 318558"/>
              <a:gd name="connsiteY29" fmla="*/ 143351 h 318558"/>
              <a:gd name="connsiteX30" fmla="*/ 167243 w 318558"/>
              <a:gd name="connsiteY30" fmla="*/ 207063 h 318558"/>
              <a:gd name="connsiteX31" fmla="*/ 143351 w 318558"/>
              <a:gd name="connsiteY31" fmla="*/ 230955 h 318558"/>
              <a:gd name="connsiteX32" fmla="*/ 143351 w 318558"/>
              <a:gd name="connsiteY32" fmla="*/ 294666 h 318558"/>
              <a:gd name="connsiteX33" fmla="*/ 167243 w 318558"/>
              <a:gd name="connsiteY33" fmla="*/ 318558 h 318558"/>
              <a:gd name="connsiteX34" fmla="*/ 191135 w 318558"/>
              <a:gd name="connsiteY34" fmla="*/ 294666 h 318558"/>
              <a:gd name="connsiteX35" fmla="*/ 191135 w 318558"/>
              <a:gd name="connsiteY35" fmla="*/ 230955 h 318558"/>
              <a:gd name="connsiteX36" fmla="*/ 167243 w 318558"/>
              <a:gd name="connsiteY36" fmla="*/ 207063 h 318558"/>
              <a:gd name="connsiteX37" fmla="*/ 270775 w 318558"/>
              <a:gd name="connsiteY37" fmla="*/ 199099 h 318558"/>
              <a:gd name="connsiteX38" fmla="*/ 294666 w 318558"/>
              <a:gd name="connsiteY38" fmla="*/ 175207 h 318558"/>
              <a:gd name="connsiteX39" fmla="*/ 318558 w 318558"/>
              <a:gd name="connsiteY39" fmla="*/ 199099 h 318558"/>
              <a:gd name="connsiteX40" fmla="*/ 318558 w 318558"/>
              <a:gd name="connsiteY40" fmla="*/ 294666 h 318558"/>
              <a:gd name="connsiteX41" fmla="*/ 294666 w 318558"/>
              <a:gd name="connsiteY41" fmla="*/ 318558 h 318558"/>
              <a:gd name="connsiteX42" fmla="*/ 270775 w 318558"/>
              <a:gd name="connsiteY42" fmla="*/ 294666 h 318558"/>
              <a:gd name="connsiteX43" fmla="*/ 270775 w 318558"/>
              <a:gd name="connsiteY43" fmla="*/ 199099 h 318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18558" h="318558">
                <a:moveTo>
                  <a:pt x="234937" y="0"/>
                </a:moveTo>
                <a:cubicBezTo>
                  <a:pt x="263526" y="0"/>
                  <a:pt x="286703" y="23176"/>
                  <a:pt x="286703" y="51766"/>
                </a:cubicBezTo>
                <a:lnTo>
                  <a:pt x="286703" y="160076"/>
                </a:lnTo>
                <a:cubicBezTo>
                  <a:pt x="280819" y="161270"/>
                  <a:pt x="275405" y="163763"/>
                  <a:pt x="270775" y="167240"/>
                </a:cubicBezTo>
                <a:cubicBezTo>
                  <a:pt x="270775" y="158276"/>
                  <a:pt x="267810" y="150003"/>
                  <a:pt x="262811" y="143348"/>
                </a:cubicBezTo>
                <a:lnTo>
                  <a:pt x="262811" y="87604"/>
                </a:lnTo>
                <a:lnTo>
                  <a:pt x="23892" y="87604"/>
                </a:lnTo>
                <a:lnTo>
                  <a:pt x="23892" y="234937"/>
                </a:lnTo>
                <a:cubicBezTo>
                  <a:pt x="23892" y="250331"/>
                  <a:pt x="36371" y="262811"/>
                  <a:pt x="51766" y="262811"/>
                </a:cubicBezTo>
                <a:lnTo>
                  <a:pt x="127423" y="262811"/>
                </a:lnTo>
                <a:lnTo>
                  <a:pt x="127423" y="286703"/>
                </a:lnTo>
                <a:lnTo>
                  <a:pt x="51766" y="286703"/>
                </a:lnTo>
                <a:cubicBezTo>
                  <a:pt x="23176" y="286703"/>
                  <a:pt x="0" y="263526"/>
                  <a:pt x="0" y="234937"/>
                </a:cubicBezTo>
                <a:lnTo>
                  <a:pt x="0" y="51766"/>
                </a:lnTo>
                <a:cubicBezTo>
                  <a:pt x="0" y="23176"/>
                  <a:pt x="23176" y="0"/>
                  <a:pt x="51766" y="0"/>
                </a:cubicBezTo>
                <a:lnTo>
                  <a:pt x="234937" y="0"/>
                </a:lnTo>
                <a:close/>
                <a:moveTo>
                  <a:pt x="234937" y="23892"/>
                </a:moveTo>
                <a:lnTo>
                  <a:pt x="51766" y="23892"/>
                </a:lnTo>
                <a:cubicBezTo>
                  <a:pt x="36371" y="23892"/>
                  <a:pt x="23892" y="36371"/>
                  <a:pt x="23892" y="51766"/>
                </a:cubicBezTo>
                <a:lnTo>
                  <a:pt x="23892" y="63712"/>
                </a:lnTo>
                <a:lnTo>
                  <a:pt x="262811" y="63712"/>
                </a:lnTo>
                <a:lnTo>
                  <a:pt x="262811" y="51766"/>
                </a:lnTo>
                <a:cubicBezTo>
                  <a:pt x="262811" y="36371"/>
                  <a:pt x="250331" y="23892"/>
                  <a:pt x="234937" y="23892"/>
                </a:cubicBezTo>
                <a:close/>
                <a:moveTo>
                  <a:pt x="230955" y="143351"/>
                </a:moveTo>
                <a:cubicBezTo>
                  <a:pt x="217760" y="143351"/>
                  <a:pt x="207063" y="154048"/>
                  <a:pt x="207063" y="167243"/>
                </a:cubicBezTo>
                <a:lnTo>
                  <a:pt x="207063" y="294666"/>
                </a:lnTo>
                <a:cubicBezTo>
                  <a:pt x="207063" y="307861"/>
                  <a:pt x="217760" y="318558"/>
                  <a:pt x="230955" y="318558"/>
                </a:cubicBezTo>
                <a:cubicBezTo>
                  <a:pt x="244149" y="318558"/>
                  <a:pt x="254847" y="307861"/>
                  <a:pt x="254847" y="294666"/>
                </a:cubicBezTo>
                <a:lnTo>
                  <a:pt x="254847" y="167243"/>
                </a:lnTo>
                <a:cubicBezTo>
                  <a:pt x="254847" y="154048"/>
                  <a:pt x="244149" y="143351"/>
                  <a:pt x="230955" y="143351"/>
                </a:cubicBezTo>
                <a:close/>
                <a:moveTo>
                  <a:pt x="167243" y="207063"/>
                </a:moveTo>
                <a:cubicBezTo>
                  <a:pt x="154048" y="207063"/>
                  <a:pt x="143351" y="217760"/>
                  <a:pt x="143351" y="230955"/>
                </a:cubicBezTo>
                <a:lnTo>
                  <a:pt x="143351" y="294666"/>
                </a:lnTo>
                <a:cubicBezTo>
                  <a:pt x="143351" y="307861"/>
                  <a:pt x="154048" y="318558"/>
                  <a:pt x="167243" y="318558"/>
                </a:cubicBezTo>
                <a:cubicBezTo>
                  <a:pt x="180438" y="318558"/>
                  <a:pt x="191135" y="307861"/>
                  <a:pt x="191135" y="294666"/>
                </a:cubicBezTo>
                <a:lnTo>
                  <a:pt x="191135" y="230955"/>
                </a:lnTo>
                <a:cubicBezTo>
                  <a:pt x="191135" y="217760"/>
                  <a:pt x="180438" y="207063"/>
                  <a:pt x="167243" y="207063"/>
                </a:cubicBezTo>
                <a:close/>
                <a:moveTo>
                  <a:pt x="270775" y="199099"/>
                </a:moveTo>
                <a:cubicBezTo>
                  <a:pt x="270775" y="185904"/>
                  <a:pt x="281472" y="175207"/>
                  <a:pt x="294666" y="175207"/>
                </a:cubicBezTo>
                <a:cubicBezTo>
                  <a:pt x="307861" y="175207"/>
                  <a:pt x="318558" y="185904"/>
                  <a:pt x="318558" y="199099"/>
                </a:cubicBezTo>
                <a:lnTo>
                  <a:pt x="318558" y="294666"/>
                </a:lnTo>
                <a:cubicBezTo>
                  <a:pt x="318558" y="307861"/>
                  <a:pt x="307861" y="318558"/>
                  <a:pt x="294666" y="318558"/>
                </a:cubicBezTo>
                <a:cubicBezTo>
                  <a:pt x="281472" y="318558"/>
                  <a:pt x="270775" y="307861"/>
                  <a:pt x="270775" y="294666"/>
                </a:cubicBezTo>
                <a:lnTo>
                  <a:pt x="270775" y="199099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76" name="Graphic 74">
            <a:extLst>
              <a:ext uri="{FF2B5EF4-FFF2-40B4-BE49-F238E27FC236}">
                <a16:creationId xmlns:a16="http://schemas.microsoft.com/office/drawing/2014/main" id="{5DF8A4A4-5691-B45A-8DA5-9F6C17D4F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67258" y="3798112"/>
            <a:ext cx="442280" cy="460612"/>
          </a:xfrm>
          <a:custGeom>
            <a:avLst/>
            <a:gdLst>
              <a:gd name="connsiteX0" fmla="*/ 89274 w 178343"/>
              <a:gd name="connsiteY0" fmla="*/ 0 h 185737"/>
              <a:gd name="connsiteX1" fmla="*/ 110052 w 178343"/>
              <a:gd name="connsiteY1" fmla="*/ 2410 h 185737"/>
              <a:gd name="connsiteX2" fmla="*/ 115597 w 178343"/>
              <a:gd name="connsiteY2" fmla="*/ 8591 h 185737"/>
              <a:gd name="connsiteX3" fmla="*/ 117218 w 178343"/>
              <a:gd name="connsiteY3" fmla="*/ 23134 h 185737"/>
              <a:gd name="connsiteX4" fmla="*/ 130311 w 178343"/>
              <a:gd name="connsiteY4" fmla="*/ 34877 h 185737"/>
              <a:gd name="connsiteX5" fmla="*/ 135575 w 178343"/>
              <a:gd name="connsiteY5" fmla="*/ 33765 h 185737"/>
              <a:gd name="connsiteX6" fmla="*/ 148915 w 178343"/>
              <a:gd name="connsiteY6" fmla="*/ 27904 h 185737"/>
              <a:gd name="connsiteX7" fmla="*/ 157003 w 178343"/>
              <a:gd name="connsiteY7" fmla="*/ 29562 h 185737"/>
              <a:gd name="connsiteX8" fmla="*/ 178004 w 178343"/>
              <a:gd name="connsiteY8" fmla="*/ 65680 h 185737"/>
              <a:gd name="connsiteX9" fmla="*/ 175419 w 178343"/>
              <a:gd name="connsiteY9" fmla="*/ 73547 h 185737"/>
              <a:gd name="connsiteX10" fmla="*/ 163594 w 178343"/>
              <a:gd name="connsiteY10" fmla="*/ 82264 h 185737"/>
              <a:gd name="connsiteX11" fmla="*/ 158229 w 178343"/>
              <a:gd name="connsiteY11" fmla="*/ 92864 h 185737"/>
              <a:gd name="connsiteX12" fmla="*/ 163601 w 178343"/>
              <a:gd name="connsiteY12" fmla="*/ 103469 h 185737"/>
              <a:gd name="connsiteX13" fmla="*/ 175437 w 178343"/>
              <a:gd name="connsiteY13" fmla="*/ 112188 h 185737"/>
              <a:gd name="connsiteX14" fmla="*/ 178023 w 178343"/>
              <a:gd name="connsiteY14" fmla="*/ 120056 h 185737"/>
              <a:gd name="connsiteX15" fmla="*/ 157034 w 178343"/>
              <a:gd name="connsiteY15" fmla="*/ 156173 h 185737"/>
              <a:gd name="connsiteX16" fmla="*/ 148951 w 178343"/>
              <a:gd name="connsiteY16" fmla="*/ 157835 h 185737"/>
              <a:gd name="connsiteX17" fmla="*/ 135555 w 178343"/>
              <a:gd name="connsiteY17" fmla="*/ 151967 h 185737"/>
              <a:gd name="connsiteX18" fmla="*/ 123700 w 178343"/>
              <a:gd name="connsiteY18" fmla="*/ 152629 h 185737"/>
              <a:gd name="connsiteX19" fmla="*/ 117208 w 178343"/>
              <a:gd name="connsiteY19" fmla="*/ 162570 h 185737"/>
              <a:gd name="connsiteX20" fmla="*/ 115598 w 178343"/>
              <a:gd name="connsiteY20" fmla="*/ 177112 h 185737"/>
              <a:gd name="connsiteX21" fmla="*/ 110151 w 178343"/>
              <a:gd name="connsiteY21" fmla="*/ 183275 h 185737"/>
              <a:gd name="connsiteX22" fmla="*/ 68184 w 178343"/>
              <a:gd name="connsiteY22" fmla="*/ 183275 h 185737"/>
              <a:gd name="connsiteX23" fmla="*/ 62737 w 178343"/>
              <a:gd name="connsiteY23" fmla="*/ 177112 h 185737"/>
              <a:gd name="connsiteX24" fmla="*/ 61129 w 178343"/>
              <a:gd name="connsiteY24" fmla="*/ 162592 h 185737"/>
              <a:gd name="connsiteX25" fmla="*/ 54624 w 178343"/>
              <a:gd name="connsiteY25" fmla="*/ 152676 h 185737"/>
              <a:gd name="connsiteX26" fmla="*/ 42792 w 178343"/>
              <a:gd name="connsiteY26" fmla="*/ 152013 h 185737"/>
              <a:gd name="connsiteX27" fmla="*/ 29393 w 178343"/>
              <a:gd name="connsiteY27" fmla="*/ 157883 h 185737"/>
              <a:gd name="connsiteX28" fmla="*/ 21309 w 178343"/>
              <a:gd name="connsiteY28" fmla="*/ 156219 h 185737"/>
              <a:gd name="connsiteX29" fmla="*/ 320 w 178343"/>
              <a:gd name="connsiteY29" fmla="*/ 120061 h 185737"/>
              <a:gd name="connsiteX30" fmla="*/ 2907 w 178343"/>
              <a:gd name="connsiteY30" fmla="*/ 112198 h 185737"/>
              <a:gd name="connsiteX31" fmla="*/ 14750 w 178343"/>
              <a:gd name="connsiteY31" fmla="*/ 103473 h 185737"/>
              <a:gd name="connsiteX32" fmla="*/ 20115 w 178343"/>
              <a:gd name="connsiteY32" fmla="*/ 92874 h 185737"/>
              <a:gd name="connsiteX33" fmla="*/ 14745 w 178343"/>
              <a:gd name="connsiteY33" fmla="*/ 82270 h 185737"/>
              <a:gd name="connsiteX34" fmla="*/ 2910 w 178343"/>
              <a:gd name="connsiteY34" fmla="*/ 73560 h 185737"/>
              <a:gd name="connsiteX35" fmla="*/ 321 w 178343"/>
              <a:gd name="connsiteY35" fmla="*/ 65690 h 185737"/>
              <a:gd name="connsiteX36" fmla="*/ 21321 w 178343"/>
              <a:gd name="connsiteY36" fmla="*/ 29572 h 185737"/>
              <a:gd name="connsiteX37" fmla="*/ 29409 w 178343"/>
              <a:gd name="connsiteY37" fmla="*/ 27914 h 185737"/>
              <a:gd name="connsiteX38" fmla="*/ 42748 w 178343"/>
              <a:gd name="connsiteY38" fmla="*/ 33773 h 185737"/>
              <a:gd name="connsiteX39" fmla="*/ 54637 w 178343"/>
              <a:gd name="connsiteY39" fmla="*/ 33077 h 185737"/>
              <a:gd name="connsiteX40" fmla="*/ 61136 w 178343"/>
              <a:gd name="connsiteY40" fmla="*/ 23123 h 185737"/>
              <a:gd name="connsiteX41" fmla="*/ 62756 w 178343"/>
              <a:gd name="connsiteY41" fmla="*/ 8591 h 185737"/>
              <a:gd name="connsiteX42" fmla="*/ 68305 w 178343"/>
              <a:gd name="connsiteY42" fmla="*/ 2409 h 185737"/>
              <a:gd name="connsiteX43" fmla="*/ 89274 w 178343"/>
              <a:gd name="connsiteY43" fmla="*/ 0 h 185737"/>
              <a:gd name="connsiteX44" fmla="*/ 89275 w 178343"/>
              <a:gd name="connsiteY44" fmla="*/ 14287 h 185737"/>
              <a:gd name="connsiteX45" fmla="*/ 76373 w 178343"/>
              <a:gd name="connsiteY45" fmla="*/ 15402 h 185737"/>
              <a:gd name="connsiteX46" fmla="*/ 75336 w 178343"/>
              <a:gd name="connsiteY46" fmla="*/ 24710 h 185737"/>
              <a:gd name="connsiteX47" fmla="*/ 61825 w 178343"/>
              <a:gd name="connsiteY47" fmla="*/ 45425 h 185737"/>
              <a:gd name="connsiteX48" fmla="*/ 37004 w 178343"/>
              <a:gd name="connsiteY48" fmla="*/ 46855 h 185737"/>
              <a:gd name="connsiteX49" fmla="*/ 28448 w 178343"/>
              <a:gd name="connsiteY49" fmla="*/ 43096 h 185737"/>
              <a:gd name="connsiteX50" fmla="*/ 15610 w 178343"/>
              <a:gd name="connsiteY50" fmla="*/ 65167 h 185737"/>
              <a:gd name="connsiteX51" fmla="*/ 23209 w 178343"/>
              <a:gd name="connsiteY51" fmla="*/ 70759 h 185737"/>
              <a:gd name="connsiteX52" fmla="*/ 34403 w 178343"/>
              <a:gd name="connsiteY52" fmla="*/ 92874 h 185737"/>
              <a:gd name="connsiteX53" fmla="*/ 23217 w 178343"/>
              <a:gd name="connsiteY53" fmla="*/ 114981 h 185737"/>
              <a:gd name="connsiteX54" fmla="*/ 15606 w 178343"/>
              <a:gd name="connsiteY54" fmla="*/ 120588 h 185737"/>
              <a:gd name="connsiteX55" fmla="*/ 28445 w 178343"/>
              <a:gd name="connsiteY55" fmla="*/ 142700 h 185737"/>
              <a:gd name="connsiteX56" fmla="*/ 37066 w 178343"/>
              <a:gd name="connsiteY56" fmla="*/ 138923 h 185737"/>
              <a:gd name="connsiteX57" fmla="*/ 61759 w 178343"/>
              <a:gd name="connsiteY57" fmla="*/ 140298 h 185737"/>
              <a:gd name="connsiteX58" fmla="*/ 75327 w 178343"/>
              <a:gd name="connsiteY58" fmla="*/ 160997 h 185737"/>
              <a:gd name="connsiteX59" fmla="*/ 76364 w 178343"/>
              <a:gd name="connsiteY59" fmla="*/ 170369 h 185737"/>
              <a:gd name="connsiteX60" fmla="*/ 101970 w 178343"/>
              <a:gd name="connsiteY60" fmla="*/ 170369 h 185737"/>
              <a:gd name="connsiteX61" fmla="*/ 103007 w 178343"/>
              <a:gd name="connsiteY61" fmla="*/ 160998 h 185737"/>
              <a:gd name="connsiteX62" fmla="*/ 116551 w 178343"/>
              <a:gd name="connsiteY62" fmla="*/ 140258 h 185737"/>
              <a:gd name="connsiteX63" fmla="*/ 141286 w 178343"/>
              <a:gd name="connsiteY63" fmla="*/ 138879 h 185737"/>
              <a:gd name="connsiteX64" fmla="*/ 149900 w 178343"/>
              <a:gd name="connsiteY64" fmla="*/ 142653 h 185737"/>
              <a:gd name="connsiteX65" fmla="*/ 162735 w 178343"/>
              <a:gd name="connsiteY65" fmla="*/ 120577 h 185737"/>
              <a:gd name="connsiteX66" fmla="*/ 155134 w 178343"/>
              <a:gd name="connsiteY66" fmla="*/ 114977 h 185737"/>
              <a:gd name="connsiteX67" fmla="*/ 143941 w 178343"/>
              <a:gd name="connsiteY67" fmla="*/ 92864 h 185737"/>
              <a:gd name="connsiteX68" fmla="*/ 155126 w 178343"/>
              <a:gd name="connsiteY68" fmla="*/ 70756 h 185737"/>
              <a:gd name="connsiteX69" fmla="*/ 162716 w 178343"/>
              <a:gd name="connsiteY69" fmla="*/ 65161 h 185737"/>
              <a:gd name="connsiteX70" fmla="*/ 149877 w 178343"/>
              <a:gd name="connsiteY70" fmla="*/ 43087 h 185737"/>
              <a:gd name="connsiteX71" fmla="*/ 141338 w 178343"/>
              <a:gd name="connsiteY71" fmla="*/ 46838 h 185737"/>
              <a:gd name="connsiteX72" fmla="*/ 130293 w 178343"/>
              <a:gd name="connsiteY72" fmla="*/ 49164 h 185737"/>
              <a:gd name="connsiteX73" fmla="*/ 103017 w 178343"/>
              <a:gd name="connsiteY73" fmla="*/ 24706 h 185737"/>
              <a:gd name="connsiteX74" fmla="*/ 101980 w 178343"/>
              <a:gd name="connsiteY74" fmla="*/ 15399 h 185737"/>
              <a:gd name="connsiteX75" fmla="*/ 89275 w 178343"/>
              <a:gd name="connsiteY75" fmla="*/ 14287 h 185737"/>
              <a:gd name="connsiteX76" fmla="*/ 89155 w 178343"/>
              <a:gd name="connsiteY76" fmla="*/ 57150 h 185737"/>
              <a:gd name="connsiteX77" fmla="*/ 124873 w 178343"/>
              <a:gd name="connsiteY77" fmla="*/ 92869 h 185737"/>
              <a:gd name="connsiteX78" fmla="*/ 89155 w 178343"/>
              <a:gd name="connsiteY78" fmla="*/ 128588 h 185737"/>
              <a:gd name="connsiteX79" fmla="*/ 53436 w 178343"/>
              <a:gd name="connsiteY79" fmla="*/ 92869 h 185737"/>
              <a:gd name="connsiteX80" fmla="*/ 89155 w 178343"/>
              <a:gd name="connsiteY80" fmla="*/ 57150 h 185737"/>
              <a:gd name="connsiteX81" fmla="*/ 89155 w 178343"/>
              <a:gd name="connsiteY81" fmla="*/ 71437 h 185737"/>
              <a:gd name="connsiteX82" fmla="*/ 67723 w 178343"/>
              <a:gd name="connsiteY82" fmla="*/ 92869 h 185737"/>
              <a:gd name="connsiteX83" fmla="*/ 89155 w 178343"/>
              <a:gd name="connsiteY83" fmla="*/ 114300 h 185737"/>
              <a:gd name="connsiteX84" fmla="*/ 110586 w 178343"/>
              <a:gd name="connsiteY84" fmla="*/ 92869 h 185737"/>
              <a:gd name="connsiteX85" fmla="*/ 89155 w 178343"/>
              <a:gd name="connsiteY85" fmla="*/ 71437 h 18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78343" h="185737">
                <a:moveTo>
                  <a:pt x="89274" y="0"/>
                </a:moveTo>
                <a:cubicBezTo>
                  <a:pt x="96264" y="81"/>
                  <a:pt x="103228" y="888"/>
                  <a:pt x="110052" y="2410"/>
                </a:cubicBezTo>
                <a:cubicBezTo>
                  <a:pt x="113031" y="3075"/>
                  <a:pt x="115259" y="5558"/>
                  <a:pt x="115597" y="8591"/>
                </a:cubicBezTo>
                <a:lnTo>
                  <a:pt x="117218" y="23134"/>
                </a:lnTo>
                <a:cubicBezTo>
                  <a:pt x="117952" y="29812"/>
                  <a:pt x="123590" y="34870"/>
                  <a:pt x="130311" y="34877"/>
                </a:cubicBezTo>
                <a:cubicBezTo>
                  <a:pt x="132118" y="34879"/>
                  <a:pt x="133905" y="34503"/>
                  <a:pt x="135575" y="33765"/>
                </a:cubicBezTo>
                <a:lnTo>
                  <a:pt x="148915" y="27904"/>
                </a:lnTo>
                <a:cubicBezTo>
                  <a:pt x="151690" y="26685"/>
                  <a:pt x="154932" y="27350"/>
                  <a:pt x="157003" y="29562"/>
                </a:cubicBezTo>
                <a:cubicBezTo>
                  <a:pt x="166644" y="39859"/>
                  <a:pt x="173824" y="52208"/>
                  <a:pt x="178004" y="65680"/>
                </a:cubicBezTo>
                <a:cubicBezTo>
                  <a:pt x="178905" y="68586"/>
                  <a:pt x="177868" y="71743"/>
                  <a:pt x="175419" y="73547"/>
                </a:cubicBezTo>
                <a:lnTo>
                  <a:pt x="163594" y="82264"/>
                </a:lnTo>
                <a:cubicBezTo>
                  <a:pt x="160221" y="84742"/>
                  <a:pt x="158229" y="88678"/>
                  <a:pt x="158229" y="92864"/>
                </a:cubicBezTo>
                <a:cubicBezTo>
                  <a:pt x="158229" y="97049"/>
                  <a:pt x="160221" y="100985"/>
                  <a:pt x="163601" y="103469"/>
                </a:cubicBezTo>
                <a:lnTo>
                  <a:pt x="175437" y="112188"/>
                </a:lnTo>
                <a:cubicBezTo>
                  <a:pt x="177886" y="113992"/>
                  <a:pt x="178924" y="117150"/>
                  <a:pt x="178023" y="120056"/>
                </a:cubicBezTo>
                <a:cubicBezTo>
                  <a:pt x="173845" y="133526"/>
                  <a:pt x="166669" y="145874"/>
                  <a:pt x="157034" y="156173"/>
                </a:cubicBezTo>
                <a:cubicBezTo>
                  <a:pt x="154964" y="158385"/>
                  <a:pt x="151725" y="159051"/>
                  <a:pt x="148951" y="157835"/>
                </a:cubicBezTo>
                <a:lnTo>
                  <a:pt x="135555" y="151967"/>
                </a:lnTo>
                <a:cubicBezTo>
                  <a:pt x="131723" y="150289"/>
                  <a:pt x="127321" y="150535"/>
                  <a:pt x="123700" y="152629"/>
                </a:cubicBezTo>
                <a:cubicBezTo>
                  <a:pt x="120078" y="154721"/>
                  <a:pt x="117669" y="158412"/>
                  <a:pt x="117208" y="162570"/>
                </a:cubicBezTo>
                <a:lnTo>
                  <a:pt x="115598" y="177112"/>
                </a:lnTo>
                <a:cubicBezTo>
                  <a:pt x="115265" y="180110"/>
                  <a:pt x="113085" y="182577"/>
                  <a:pt x="110151" y="183275"/>
                </a:cubicBezTo>
                <a:cubicBezTo>
                  <a:pt x="96355" y="186558"/>
                  <a:pt x="81980" y="186558"/>
                  <a:pt x="68184" y="183275"/>
                </a:cubicBezTo>
                <a:cubicBezTo>
                  <a:pt x="65249" y="182577"/>
                  <a:pt x="63069" y="180110"/>
                  <a:pt x="62737" y="177112"/>
                </a:cubicBezTo>
                <a:lnTo>
                  <a:pt x="61129" y="162592"/>
                </a:lnTo>
                <a:cubicBezTo>
                  <a:pt x="60656" y="158442"/>
                  <a:pt x="58242" y="154762"/>
                  <a:pt x="54624" y="152676"/>
                </a:cubicBezTo>
                <a:cubicBezTo>
                  <a:pt x="51005" y="150590"/>
                  <a:pt x="46611" y="150345"/>
                  <a:pt x="42792" y="152013"/>
                </a:cubicBezTo>
                <a:lnTo>
                  <a:pt x="29393" y="157883"/>
                </a:lnTo>
                <a:cubicBezTo>
                  <a:pt x="26618" y="159099"/>
                  <a:pt x="23378" y="158432"/>
                  <a:pt x="21309" y="156219"/>
                </a:cubicBezTo>
                <a:cubicBezTo>
                  <a:pt x="11668" y="145909"/>
                  <a:pt x="4491" y="133545"/>
                  <a:pt x="320" y="120061"/>
                </a:cubicBezTo>
                <a:cubicBezTo>
                  <a:pt x="-579" y="117157"/>
                  <a:pt x="459" y="114001"/>
                  <a:pt x="2907" y="112198"/>
                </a:cubicBezTo>
                <a:lnTo>
                  <a:pt x="14750" y="103473"/>
                </a:lnTo>
                <a:cubicBezTo>
                  <a:pt x="18123" y="100995"/>
                  <a:pt x="20115" y="97059"/>
                  <a:pt x="20115" y="92874"/>
                </a:cubicBezTo>
                <a:cubicBezTo>
                  <a:pt x="20115" y="88687"/>
                  <a:pt x="18123" y="84752"/>
                  <a:pt x="14745" y="82270"/>
                </a:cubicBezTo>
                <a:lnTo>
                  <a:pt x="2910" y="73560"/>
                </a:lnTo>
                <a:cubicBezTo>
                  <a:pt x="459" y="71756"/>
                  <a:pt x="-581" y="68597"/>
                  <a:pt x="321" y="65690"/>
                </a:cubicBezTo>
                <a:cubicBezTo>
                  <a:pt x="4500" y="52217"/>
                  <a:pt x="11680" y="39868"/>
                  <a:pt x="21321" y="29572"/>
                </a:cubicBezTo>
                <a:cubicBezTo>
                  <a:pt x="23393" y="27359"/>
                  <a:pt x="26635" y="26695"/>
                  <a:pt x="29409" y="27914"/>
                </a:cubicBezTo>
                <a:lnTo>
                  <a:pt x="42748" y="33773"/>
                </a:lnTo>
                <a:cubicBezTo>
                  <a:pt x="46586" y="35457"/>
                  <a:pt x="50998" y="35203"/>
                  <a:pt x="54637" y="33077"/>
                </a:cubicBezTo>
                <a:cubicBezTo>
                  <a:pt x="58259" y="30976"/>
                  <a:pt x="60671" y="27282"/>
                  <a:pt x="61136" y="23123"/>
                </a:cubicBezTo>
                <a:lnTo>
                  <a:pt x="62756" y="8591"/>
                </a:lnTo>
                <a:cubicBezTo>
                  <a:pt x="63095" y="5556"/>
                  <a:pt x="65324" y="3072"/>
                  <a:pt x="68305" y="2409"/>
                </a:cubicBezTo>
                <a:cubicBezTo>
                  <a:pt x="75138" y="890"/>
                  <a:pt x="82108" y="82"/>
                  <a:pt x="89274" y="0"/>
                </a:cubicBezTo>
                <a:close/>
                <a:moveTo>
                  <a:pt x="89275" y="14287"/>
                </a:moveTo>
                <a:cubicBezTo>
                  <a:pt x="84950" y="14337"/>
                  <a:pt x="80637" y="14711"/>
                  <a:pt x="76373" y="15402"/>
                </a:cubicBezTo>
                <a:lnTo>
                  <a:pt x="75336" y="24710"/>
                </a:lnTo>
                <a:cubicBezTo>
                  <a:pt x="74366" y="33373"/>
                  <a:pt x="69346" y="41062"/>
                  <a:pt x="61825" y="45425"/>
                </a:cubicBezTo>
                <a:cubicBezTo>
                  <a:pt x="54257" y="49846"/>
                  <a:pt x="45031" y="50378"/>
                  <a:pt x="37004" y="46855"/>
                </a:cubicBezTo>
                <a:lnTo>
                  <a:pt x="28448" y="43096"/>
                </a:lnTo>
                <a:cubicBezTo>
                  <a:pt x="23000" y="49708"/>
                  <a:pt x="18664" y="57163"/>
                  <a:pt x="15610" y="65167"/>
                </a:cubicBezTo>
                <a:lnTo>
                  <a:pt x="23209" y="70759"/>
                </a:lnTo>
                <a:cubicBezTo>
                  <a:pt x="30246" y="75929"/>
                  <a:pt x="34403" y="84141"/>
                  <a:pt x="34403" y="92874"/>
                </a:cubicBezTo>
                <a:cubicBezTo>
                  <a:pt x="34403" y="101605"/>
                  <a:pt x="30246" y="109817"/>
                  <a:pt x="23217" y="114981"/>
                </a:cubicBezTo>
                <a:lnTo>
                  <a:pt x="15606" y="120588"/>
                </a:lnTo>
                <a:cubicBezTo>
                  <a:pt x="18657" y="128607"/>
                  <a:pt x="22994" y="136075"/>
                  <a:pt x="28445" y="142700"/>
                </a:cubicBezTo>
                <a:lnTo>
                  <a:pt x="37066" y="138923"/>
                </a:lnTo>
                <a:cubicBezTo>
                  <a:pt x="45049" y="135438"/>
                  <a:pt x="54212" y="135947"/>
                  <a:pt x="61759" y="140298"/>
                </a:cubicBezTo>
                <a:cubicBezTo>
                  <a:pt x="69305" y="144648"/>
                  <a:pt x="74339" y="152321"/>
                  <a:pt x="75327" y="160997"/>
                </a:cubicBezTo>
                <a:lnTo>
                  <a:pt x="76364" y="170369"/>
                </a:lnTo>
                <a:cubicBezTo>
                  <a:pt x="84839" y="171810"/>
                  <a:pt x="93495" y="171810"/>
                  <a:pt x="101970" y="170369"/>
                </a:cubicBezTo>
                <a:lnTo>
                  <a:pt x="103007" y="160998"/>
                </a:lnTo>
                <a:cubicBezTo>
                  <a:pt x="103967" y="152325"/>
                  <a:pt x="108995" y="144625"/>
                  <a:pt x="116551" y="140258"/>
                </a:cubicBezTo>
                <a:cubicBezTo>
                  <a:pt x="124107" y="135891"/>
                  <a:pt x="133289" y="135379"/>
                  <a:pt x="141286" y="138879"/>
                </a:cubicBezTo>
                <a:lnTo>
                  <a:pt x="149900" y="142653"/>
                </a:lnTo>
                <a:cubicBezTo>
                  <a:pt x="155347" y="136039"/>
                  <a:pt x="159682" y="128583"/>
                  <a:pt x="162735" y="120577"/>
                </a:cubicBezTo>
                <a:lnTo>
                  <a:pt x="155134" y="114977"/>
                </a:lnTo>
                <a:cubicBezTo>
                  <a:pt x="148097" y="109807"/>
                  <a:pt x="143941" y="101596"/>
                  <a:pt x="143941" y="92864"/>
                </a:cubicBezTo>
                <a:cubicBezTo>
                  <a:pt x="143941" y="84131"/>
                  <a:pt x="148097" y="75920"/>
                  <a:pt x="155126" y="70756"/>
                </a:cubicBezTo>
                <a:lnTo>
                  <a:pt x="162716" y="65161"/>
                </a:lnTo>
                <a:cubicBezTo>
                  <a:pt x="159662" y="57156"/>
                  <a:pt x="155326" y="49700"/>
                  <a:pt x="149877" y="43087"/>
                </a:cubicBezTo>
                <a:lnTo>
                  <a:pt x="141338" y="46838"/>
                </a:lnTo>
                <a:cubicBezTo>
                  <a:pt x="137858" y="48378"/>
                  <a:pt x="134095" y="49170"/>
                  <a:pt x="130293" y="49164"/>
                </a:cubicBezTo>
                <a:cubicBezTo>
                  <a:pt x="116294" y="49149"/>
                  <a:pt x="104545" y="38610"/>
                  <a:pt x="103017" y="24706"/>
                </a:cubicBezTo>
                <a:lnTo>
                  <a:pt x="101980" y="15399"/>
                </a:lnTo>
                <a:cubicBezTo>
                  <a:pt x="97737" y="14709"/>
                  <a:pt x="93468" y="14336"/>
                  <a:pt x="89275" y="14287"/>
                </a:cubicBezTo>
                <a:close/>
                <a:moveTo>
                  <a:pt x="89155" y="57150"/>
                </a:moveTo>
                <a:cubicBezTo>
                  <a:pt x="108882" y="57150"/>
                  <a:pt x="124873" y="73141"/>
                  <a:pt x="124873" y="92869"/>
                </a:cubicBezTo>
                <a:cubicBezTo>
                  <a:pt x="124873" y="112595"/>
                  <a:pt x="108882" y="128588"/>
                  <a:pt x="89155" y="128588"/>
                </a:cubicBezTo>
                <a:cubicBezTo>
                  <a:pt x="69428" y="128588"/>
                  <a:pt x="53436" y="112595"/>
                  <a:pt x="53436" y="92869"/>
                </a:cubicBezTo>
                <a:cubicBezTo>
                  <a:pt x="53436" y="73141"/>
                  <a:pt x="69428" y="57150"/>
                  <a:pt x="89155" y="57150"/>
                </a:cubicBezTo>
                <a:close/>
                <a:moveTo>
                  <a:pt x="89155" y="71437"/>
                </a:moveTo>
                <a:cubicBezTo>
                  <a:pt x="77318" y="71437"/>
                  <a:pt x="67723" y="81032"/>
                  <a:pt x="67723" y="92869"/>
                </a:cubicBezTo>
                <a:cubicBezTo>
                  <a:pt x="67723" y="104705"/>
                  <a:pt x="77318" y="114300"/>
                  <a:pt x="89155" y="114300"/>
                </a:cubicBezTo>
                <a:cubicBezTo>
                  <a:pt x="100990" y="114300"/>
                  <a:pt x="110586" y="104705"/>
                  <a:pt x="110586" y="92869"/>
                </a:cubicBezTo>
                <a:cubicBezTo>
                  <a:pt x="110586" y="81032"/>
                  <a:pt x="100990" y="71437"/>
                  <a:pt x="89155" y="71437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8A88D9-D8FD-A176-E74B-6914656D706D}"/>
              </a:ext>
            </a:extLst>
          </p:cNvPr>
          <p:cNvSpPr txBox="1">
            <a:spLocks/>
          </p:cNvSpPr>
          <p:nvPr/>
        </p:nvSpPr>
        <p:spPr>
          <a:xfrm>
            <a:off x="6176330" y="4535704"/>
            <a:ext cx="1535211" cy="5539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ecurity &amp; governance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481312-30C7-9E49-7CCF-98DB592F9FDF}"/>
              </a:ext>
            </a:extLst>
          </p:cNvPr>
          <p:cNvSpPr txBox="1">
            <a:spLocks/>
          </p:cNvSpPr>
          <p:nvPr/>
        </p:nvSpPr>
        <p:spPr>
          <a:xfrm>
            <a:off x="8020793" y="4535704"/>
            <a:ext cx="1535211" cy="5539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anagement control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0AF6D33-8D75-E1DB-97E1-9CB0CE24000A}"/>
              </a:ext>
            </a:extLst>
          </p:cNvPr>
          <p:cNvSpPr txBox="1">
            <a:spLocks/>
          </p:cNvSpPr>
          <p:nvPr/>
        </p:nvSpPr>
        <p:spPr>
          <a:xfrm>
            <a:off x="9865256" y="4535704"/>
            <a:ext cx="1535211" cy="553998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811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easurement &amp; reporting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0C47BF-CEA9-E2DB-9FCC-B904E6A136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571500" y="6541569"/>
            <a:ext cx="3911600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3000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1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arn more about the Customer Copyright Commitment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153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268784-CB00-37C0-C2C3-4969008282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79">
            <a:extLst>
              <a:ext uri="{FF2B5EF4-FFF2-40B4-BE49-F238E27FC236}">
                <a16:creationId xmlns:a16="http://schemas.microsoft.com/office/drawing/2014/main" id="{97423D90-2A81-D0A6-D20A-873C60F37D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>
          <a:blip r:embed="rId3"/>
          <a:srcRect l="2434" t="98557" r="65625"/>
          <a:stretch>
            <a:fillRect/>
          </a:stretch>
        </p:blipFill>
        <p:spPr>
          <a:xfrm flipH="1">
            <a:off x="4560887" y="6301226"/>
            <a:ext cx="3070226" cy="61474"/>
          </a:xfrm>
          <a:custGeom>
            <a:avLst/>
            <a:gdLst>
              <a:gd name="connsiteX0" fmla="*/ 3070226 w 3070226"/>
              <a:gd name="connsiteY0" fmla="*/ 0 h 61474"/>
              <a:gd name="connsiteX1" fmla="*/ 2061029 w 3070226"/>
              <a:gd name="connsiteY1" fmla="*/ 0 h 61474"/>
              <a:gd name="connsiteX2" fmla="*/ 1009198 w 3070226"/>
              <a:gd name="connsiteY2" fmla="*/ 0 h 61474"/>
              <a:gd name="connsiteX3" fmla="*/ 1009197 w 3070226"/>
              <a:gd name="connsiteY3" fmla="*/ 0 h 61474"/>
              <a:gd name="connsiteX4" fmla="*/ 826317 w 3070226"/>
              <a:gd name="connsiteY4" fmla="*/ 0 h 61474"/>
              <a:gd name="connsiteX5" fmla="*/ 0 w 3070226"/>
              <a:gd name="connsiteY5" fmla="*/ 0 h 61474"/>
              <a:gd name="connsiteX6" fmla="*/ 18570 w 3070226"/>
              <a:gd name="connsiteY6" fmla="*/ 16014 h 61474"/>
              <a:gd name="connsiteX7" fmla="*/ 160954 w 3070226"/>
              <a:gd name="connsiteY7" fmla="*/ 61474 h 61474"/>
              <a:gd name="connsiteX8" fmla="*/ 826317 w 3070226"/>
              <a:gd name="connsiteY8" fmla="*/ 61474 h 61474"/>
              <a:gd name="connsiteX9" fmla="*/ 1009197 w 3070226"/>
              <a:gd name="connsiteY9" fmla="*/ 61474 h 61474"/>
              <a:gd name="connsiteX10" fmla="*/ 1009198 w 3070226"/>
              <a:gd name="connsiteY10" fmla="*/ 61474 h 61474"/>
              <a:gd name="connsiteX11" fmla="*/ 2061029 w 3070226"/>
              <a:gd name="connsiteY11" fmla="*/ 61474 h 61474"/>
              <a:gd name="connsiteX12" fmla="*/ 2909272 w 3070226"/>
              <a:gd name="connsiteY12" fmla="*/ 61474 h 61474"/>
              <a:gd name="connsiteX13" fmla="*/ 3051657 w 3070226"/>
              <a:gd name="connsiteY13" fmla="*/ 16014 h 61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070226" h="61474">
                <a:moveTo>
                  <a:pt x="3070226" y="0"/>
                </a:moveTo>
                <a:lnTo>
                  <a:pt x="2061029" y="0"/>
                </a:lnTo>
                <a:lnTo>
                  <a:pt x="1009198" y="0"/>
                </a:lnTo>
                <a:lnTo>
                  <a:pt x="1009197" y="0"/>
                </a:lnTo>
                <a:lnTo>
                  <a:pt x="826317" y="0"/>
                </a:lnTo>
                <a:lnTo>
                  <a:pt x="0" y="0"/>
                </a:lnTo>
                <a:lnTo>
                  <a:pt x="18570" y="16014"/>
                </a:lnTo>
                <a:cubicBezTo>
                  <a:pt x="59214" y="44715"/>
                  <a:pt x="108211" y="61474"/>
                  <a:pt x="160954" y="61474"/>
                </a:cubicBezTo>
                <a:lnTo>
                  <a:pt x="826317" y="61474"/>
                </a:lnTo>
                <a:lnTo>
                  <a:pt x="1009197" y="61474"/>
                </a:lnTo>
                <a:lnTo>
                  <a:pt x="1009198" y="61474"/>
                </a:lnTo>
                <a:lnTo>
                  <a:pt x="2061029" y="61474"/>
                </a:lnTo>
                <a:lnTo>
                  <a:pt x="2909272" y="61474"/>
                </a:lnTo>
                <a:cubicBezTo>
                  <a:pt x="2962015" y="61474"/>
                  <a:pt x="3011012" y="44715"/>
                  <a:pt x="3051657" y="16014"/>
                </a:cubicBezTo>
                <a:close/>
              </a:path>
            </a:pathLst>
          </a:custGeom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id="{C6A6EF12-A3A6-A279-CED0-23A46B25E0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" y="0"/>
            <a:ext cx="12191999" cy="1358900"/>
            <a:chOff x="1" y="0"/>
            <a:chExt cx="12191999" cy="1358900"/>
          </a:xfrm>
        </p:grpSpPr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FA79A029-935B-EF8A-4D3D-C4CFD2CC57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90" r="4762" b="74039"/>
            <a:stretch/>
          </p:blipFill>
          <p:spPr>
            <a:xfrm>
              <a:off x="1" y="0"/>
              <a:ext cx="12191998" cy="1358900"/>
            </a:xfrm>
            <a:custGeom>
              <a:avLst/>
              <a:gdLst>
                <a:gd name="connsiteX0" fmla="*/ 0 w 12191998"/>
                <a:gd name="connsiteY0" fmla="*/ 0 h 1358900"/>
                <a:gd name="connsiteX1" fmla="*/ 12191998 w 12191998"/>
                <a:gd name="connsiteY1" fmla="*/ 0 h 1358900"/>
                <a:gd name="connsiteX2" fmla="*/ 12191998 w 12191998"/>
                <a:gd name="connsiteY2" fmla="*/ 1358900 h 1358900"/>
                <a:gd name="connsiteX3" fmla="*/ 0 w 12191998"/>
                <a:gd name="connsiteY3" fmla="*/ 1358900 h 135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1998" h="1358900">
                  <a:moveTo>
                    <a:pt x="0" y="0"/>
                  </a:moveTo>
                  <a:lnTo>
                    <a:pt x="12191998" y="0"/>
                  </a:lnTo>
                  <a:lnTo>
                    <a:pt x="12191998" y="1358900"/>
                  </a:lnTo>
                  <a:lnTo>
                    <a:pt x="0" y="1358900"/>
                  </a:lnTo>
                  <a:close/>
                </a:path>
              </a:pathLst>
            </a:custGeom>
          </p:spPr>
        </p:pic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85797F9-EC96-1770-09AD-652C4AB16A2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2" y="0"/>
              <a:ext cx="12191998" cy="1358900"/>
            </a:xfrm>
            <a:custGeom>
              <a:avLst/>
              <a:gdLst>
                <a:gd name="connsiteX0" fmla="*/ 0 w 12191998"/>
                <a:gd name="connsiteY0" fmla="*/ 0 h 1358900"/>
                <a:gd name="connsiteX1" fmla="*/ 12191998 w 12191998"/>
                <a:gd name="connsiteY1" fmla="*/ 0 h 1358900"/>
                <a:gd name="connsiteX2" fmla="*/ 12191998 w 12191998"/>
                <a:gd name="connsiteY2" fmla="*/ 1358900 h 1358900"/>
                <a:gd name="connsiteX3" fmla="*/ 0 w 12191998"/>
                <a:gd name="connsiteY3" fmla="*/ 1358900 h 1358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1998" h="1358900">
                  <a:moveTo>
                    <a:pt x="0" y="0"/>
                  </a:moveTo>
                  <a:lnTo>
                    <a:pt x="12191998" y="0"/>
                  </a:lnTo>
                  <a:lnTo>
                    <a:pt x="12191998" y="1358900"/>
                  </a:lnTo>
                  <a:lnTo>
                    <a:pt x="0" y="1358900"/>
                  </a:lnTo>
                  <a:close/>
                </a:path>
              </a:pathLst>
            </a:custGeom>
            <a:solidFill>
              <a:schemeClr val="bg1">
                <a:alpha val="7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  <p:sp>
          <p:nvSpPr>
            <p:cNvPr id="73" name="Graphic 34_1">
              <a:extLst>
                <a:ext uri="{FF2B5EF4-FFF2-40B4-BE49-F238E27FC236}">
                  <a16:creationId xmlns:a16="http://schemas.microsoft.com/office/drawing/2014/main" id="{22716CDB-53B8-574F-9DE8-ABD6C55629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>
            <a:xfrm>
              <a:off x="1" y="1358900"/>
              <a:ext cx="12191998" cy="0"/>
            </a:xfrm>
            <a:custGeom>
              <a:avLst/>
              <a:gdLst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4" fmla="*/ 0 w 12191998"/>
                <a:gd name="connsiteY4" fmla="*/ 0 h 863854"/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4" fmla="*/ 91440 w 12191998"/>
                <a:gd name="connsiteY4" fmla="*/ 91440 h 863854"/>
                <a:gd name="connsiteX0" fmla="*/ 0 w 12191998"/>
                <a:gd name="connsiteY0" fmla="*/ 0 h 863854"/>
                <a:gd name="connsiteX1" fmla="*/ 12191998 w 12191998"/>
                <a:gd name="connsiteY1" fmla="*/ 0 h 863854"/>
                <a:gd name="connsiteX2" fmla="*/ 12191998 w 12191998"/>
                <a:gd name="connsiteY2" fmla="*/ 863854 h 863854"/>
                <a:gd name="connsiteX3" fmla="*/ 0 w 12191998"/>
                <a:gd name="connsiteY3" fmla="*/ 863854 h 863854"/>
                <a:gd name="connsiteX0" fmla="*/ 12191998 w 12191998"/>
                <a:gd name="connsiteY0" fmla="*/ 0 h 863854"/>
                <a:gd name="connsiteX1" fmla="*/ 12191998 w 12191998"/>
                <a:gd name="connsiteY1" fmla="*/ 863854 h 863854"/>
                <a:gd name="connsiteX2" fmla="*/ 0 w 12191998"/>
                <a:gd name="connsiteY2" fmla="*/ 863854 h 863854"/>
                <a:gd name="connsiteX0" fmla="*/ 12191998 w 12191998"/>
                <a:gd name="connsiteY0" fmla="*/ 0 h 0"/>
                <a:gd name="connsiteX1" fmla="*/ 0 w 1219199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191998">
                  <a:moveTo>
                    <a:pt x="12191998" y="0"/>
                  </a:moveTo>
                  <a:lnTo>
                    <a:pt x="0" y="0"/>
                  </a:lnTo>
                </a:path>
              </a:pathLst>
            </a:custGeom>
            <a:noFill/>
            <a:ln w="50800">
              <a:gradFill flip="none" rotWithShape="1">
                <a:gsLst>
                  <a:gs pos="0">
                    <a:srgbClr val="FFA38B">
                      <a:lumMod val="98000"/>
                    </a:srgbClr>
                  </a:gs>
                  <a:gs pos="35000">
                    <a:srgbClr val="D361FF"/>
                  </a:gs>
                  <a:gs pos="70000">
                    <a:srgbClr val="2CB1FE"/>
                  </a:gs>
                  <a:gs pos="100000">
                    <a:schemeClr val="accent1"/>
                  </a:gs>
                </a:gsLst>
                <a:lin ang="10800000" scaled="1"/>
                <a:tileRect/>
              </a:gra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</p:grpSp>
      <p:sp>
        <p:nvSpPr>
          <p:cNvPr id="74" name="Rectangle: Rounded Corners 50">
            <a:extLst>
              <a:ext uri="{FF2B5EF4-FFF2-40B4-BE49-F238E27FC236}">
                <a16:creationId xmlns:a16="http://schemas.microsoft.com/office/drawing/2014/main" id="{A8D02B99-F189-30BE-FA2D-7752E710B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924560" y="1710176"/>
            <a:ext cx="10342880" cy="4591050"/>
          </a:xfrm>
          <a:prstGeom prst="roundRect">
            <a:avLst>
              <a:gd name="adj" fmla="val 3527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563A700-59D1-7193-5137-776EDEE194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>
            <a:off x="4356100" y="1710175"/>
            <a:ext cx="3479800" cy="795684"/>
          </a:xfrm>
          <a:prstGeom prst="round2SameRect">
            <a:avLst>
              <a:gd name="adj1" fmla="val 19295"/>
              <a:gd name="adj2" fmla="val 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endParaRPr kumimoji="0" lang="en-US" sz="2200" b="0" i="0" u="none" strike="noStrike" kern="1200" cap="none" spc="0" normalizeH="0" baseline="0" noProof="0">
              <a:ln w="3175"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 Semibold"/>
              <a:ea typeface="+mj-ea"/>
              <a:cs typeface="+mj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1C864EF5-9888-42FE-42F0-720C14A761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57655" y="2813634"/>
            <a:ext cx="703354" cy="703352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F98F2490-805F-7DEE-AA83-D12628F32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1107440" y="4364023"/>
            <a:ext cx="3203787" cy="1754323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5A39C1EC-41CA-C92A-D2AC-556EB9E446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4494107" y="4364023"/>
            <a:ext cx="3203787" cy="1754323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A7926B79-D6C9-4F53-5460-A8A9656F2D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 bwMode="auto">
          <a:xfrm>
            <a:off x="7880774" y="4364023"/>
            <a:ext cx="3203787" cy="1754323"/>
          </a:xfrm>
          <a:prstGeom prst="roundRect">
            <a:avLst>
              <a:gd name="adj" fmla="val 2737"/>
            </a:avLst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UI Variable Display Semibold" pitchFamily="2" charset="0"/>
              <a:ea typeface="+mn-ea"/>
              <a:cs typeface="Segoe UI" pitchFamily="34" charset="0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A8B17343-270D-B72E-851D-5F79AC2AC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44324" y="2813634"/>
            <a:ext cx="703354" cy="703352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2A8E190-076F-4ECF-D71F-BC0E30D11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30991" y="2813634"/>
            <a:ext cx="703354" cy="703352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92" name="Graphic 55">
            <a:extLst>
              <a:ext uri="{FF2B5EF4-FFF2-40B4-BE49-F238E27FC236}">
                <a16:creationId xmlns:a16="http://schemas.microsoft.com/office/drawing/2014/main" id="{050FB63B-58B1-83E8-4B05-15BC2006B1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528355" y="2964223"/>
            <a:ext cx="361958" cy="402174"/>
          </a:xfrm>
          <a:custGeom>
            <a:avLst/>
            <a:gdLst>
              <a:gd name="connsiteX0" fmla="*/ 339367 w 444042"/>
              <a:gd name="connsiteY0" fmla="*/ 180155 h 493380"/>
              <a:gd name="connsiteX1" fmla="*/ 340504 w 444042"/>
              <a:gd name="connsiteY1" fmla="*/ 154014 h 493380"/>
              <a:gd name="connsiteX2" fmla="*/ 314363 w 444042"/>
              <a:gd name="connsiteY2" fmla="*/ 152878 h 493380"/>
              <a:gd name="connsiteX3" fmla="*/ 179408 w 444042"/>
              <a:gd name="connsiteY3" fmla="*/ 276587 h 493380"/>
              <a:gd name="connsiteX4" fmla="*/ 130261 w 444042"/>
              <a:gd name="connsiteY4" fmla="*/ 227441 h 493380"/>
              <a:gd name="connsiteX5" fmla="*/ 104095 w 444042"/>
              <a:gd name="connsiteY5" fmla="*/ 227441 h 493380"/>
              <a:gd name="connsiteX6" fmla="*/ 104095 w 444042"/>
              <a:gd name="connsiteY6" fmla="*/ 253605 h 493380"/>
              <a:gd name="connsiteX7" fmla="*/ 165768 w 444042"/>
              <a:gd name="connsiteY7" fmla="*/ 315278 h 493380"/>
              <a:gd name="connsiteX8" fmla="*/ 191353 w 444042"/>
              <a:gd name="connsiteY8" fmla="*/ 315835 h 493380"/>
              <a:gd name="connsiteX9" fmla="*/ 339367 w 444042"/>
              <a:gd name="connsiteY9" fmla="*/ 180155 h 493380"/>
              <a:gd name="connsiteX10" fmla="*/ 425541 w 444042"/>
              <a:gd name="connsiteY10" fmla="*/ 74007 h 493380"/>
              <a:gd name="connsiteX11" fmla="*/ 233122 w 444042"/>
              <a:gd name="connsiteY11" fmla="*/ 3700 h 493380"/>
              <a:gd name="connsiteX12" fmla="*/ 210920 w 444042"/>
              <a:gd name="connsiteY12" fmla="*/ 3700 h 493380"/>
              <a:gd name="connsiteX13" fmla="*/ 18502 w 444042"/>
              <a:gd name="connsiteY13" fmla="*/ 74007 h 493380"/>
              <a:gd name="connsiteX14" fmla="*/ 0 w 444042"/>
              <a:gd name="connsiteY14" fmla="*/ 92509 h 493380"/>
              <a:gd name="connsiteX15" fmla="*/ 0 w 444042"/>
              <a:gd name="connsiteY15" fmla="*/ 222021 h 493380"/>
              <a:gd name="connsiteX16" fmla="*/ 215240 w 444042"/>
              <a:gd name="connsiteY16" fmla="*/ 492093 h 493380"/>
              <a:gd name="connsiteX17" fmla="*/ 228803 w 444042"/>
              <a:gd name="connsiteY17" fmla="*/ 492093 h 493380"/>
              <a:gd name="connsiteX18" fmla="*/ 444043 w 444042"/>
              <a:gd name="connsiteY18" fmla="*/ 222021 h 493380"/>
              <a:gd name="connsiteX19" fmla="*/ 444043 w 444042"/>
              <a:gd name="connsiteY19" fmla="*/ 92509 h 493380"/>
              <a:gd name="connsiteX20" fmla="*/ 425541 w 444042"/>
              <a:gd name="connsiteY20" fmla="*/ 74007 h 493380"/>
              <a:gd name="connsiteX21" fmla="*/ 37004 w 444042"/>
              <a:gd name="connsiteY21" fmla="*/ 110466 h 493380"/>
              <a:gd name="connsiteX22" fmla="*/ 222021 w 444042"/>
              <a:gd name="connsiteY22" fmla="*/ 41390 h 493380"/>
              <a:gd name="connsiteX23" fmla="*/ 407039 w 444042"/>
              <a:gd name="connsiteY23" fmla="*/ 110466 h 493380"/>
              <a:gd name="connsiteX24" fmla="*/ 407039 w 444042"/>
              <a:gd name="connsiteY24" fmla="*/ 222021 h 493380"/>
              <a:gd name="connsiteX25" fmla="*/ 222021 w 444042"/>
              <a:gd name="connsiteY25" fmla="*/ 454944 h 493380"/>
              <a:gd name="connsiteX26" fmla="*/ 37004 w 444042"/>
              <a:gd name="connsiteY26" fmla="*/ 222021 h 493380"/>
              <a:gd name="connsiteX27" fmla="*/ 37004 w 444042"/>
              <a:gd name="connsiteY27" fmla="*/ 110466 h 493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44042" h="493380">
                <a:moveTo>
                  <a:pt x="339367" y="180155"/>
                </a:moveTo>
                <a:cubicBezTo>
                  <a:pt x="346899" y="173250"/>
                  <a:pt x="347409" y="161546"/>
                  <a:pt x="340504" y="154014"/>
                </a:cubicBezTo>
                <a:cubicBezTo>
                  <a:pt x="333599" y="146482"/>
                  <a:pt x="321894" y="145973"/>
                  <a:pt x="314363" y="152878"/>
                </a:cubicBezTo>
                <a:lnTo>
                  <a:pt x="179408" y="276587"/>
                </a:lnTo>
                <a:lnTo>
                  <a:pt x="130261" y="227441"/>
                </a:lnTo>
                <a:cubicBezTo>
                  <a:pt x="123035" y="220216"/>
                  <a:pt x="111321" y="220216"/>
                  <a:pt x="104095" y="227441"/>
                </a:cubicBezTo>
                <a:cubicBezTo>
                  <a:pt x="96870" y="234667"/>
                  <a:pt x="96870" y="246380"/>
                  <a:pt x="104095" y="253605"/>
                </a:cubicBezTo>
                <a:lnTo>
                  <a:pt x="165768" y="315278"/>
                </a:lnTo>
                <a:cubicBezTo>
                  <a:pt x="172772" y="322284"/>
                  <a:pt x="184051" y="322528"/>
                  <a:pt x="191353" y="315835"/>
                </a:cubicBezTo>
                <a:lnTo>
                  <a:pt x="339367" y="180155"/>
                </a:lnTo>
                <a:close/>
                <a:moveTo>
                  <a:pt x="425541" y="74007"/>
                </a:moveTo>
                <a:cubicBezTo>
                  <a:pt x="359837" y="74007"/>
                  <a:pt x="295831" y="50732"/>
                  <a:pt x="233122" y="3700"/>
                </a:cubicBezTo>
                <a:cubicBezTo>
                  <a:pt x="226543" y="-1233"/>
                  <a:pt x="217500" y="-1233"/>
                  <a:pt x="210920" y="3700"/>
                </a:cubicBezTo>
                <a:cubicBezTo>
                  <a:pt x="148211" y="50732"/>
                  <a:pt x="84206" y="74007"/>
                  <a:pt x="18502" y="74007"/>
                </a:cubicBezTo>
                <a:cubicBezTo>
                  <a:pt x="8284" y="74007"/>
                  <a:pt x="0" y="82291"/>
                  <a:pt x="0" y="92509"/>
                </a:cubicBezTo>
                <a:lnTo>
                  <a:pt x="0" y="222021"/>
                </a:lnTo>
                <a:cubicBezTo>
                  <a:pt x="0" y="345396"/>
                  <a:pt x="72960" y="436043"/>
                  <a:pt x="215240" y="492093"/>
                </a:cubicBezTo>
                <a:cubicBezTo>
                  <a:pt x="219599" y="493810"/>
                  <a:pt x="224444" y="493810"/>
                  <a:pt x="228803" y="492093"/>
                </a:cubicBezTo>
                <a:cubicBezTo>
                  <a:pt x="371082" y="436043"/>
                  <a:pt x="444043" y="345396"/>
                  <a:pt x="444043" y="222021"/>
                </a:cubicBezTo>
                <a:lnTo>
                  <a:pt x="444043" y="92509"/>
                </a:lnTo>
                <a:cubicBezTo>
                  <a:pt x="444043" y="82291"/>
                  <a:pt x="435759" y="74007"/>
                  <a:pt x="425541" y="74007"/>
                </a:cubicBezTo>
                <a:close/>
                <a:moveTo>
                  <a:pt x="37004" y="110466"/>
                </a:moveTo>
                <a:cubicBezTo>
                  <a:pt x="100584" y="106715"/>
                  <a:pt x="162343" y="83586"/>
                  <a:pt x="222021" y="41390"/>
                </a:cubicBezTo>
                <a:cubicBezTo>
                  <a:pt x="281701" y="83586"/>
                  <a:pt x="343460" y="106715"/>
                  <a:pt x="407039" y="110466"/>
                </a:cubicBezTo>
                <a:lnTo>
                  <a:pt x="407039" y="222021"/>
                </a:lnTo>
                <a:cubicBezTo>
                  <a:pt x="407039" y="327003"/>
                  <a:pt x="346516" y="404052"/>
                  <a:pt x="222021" y="454944"/>
                </a:cubicBezTo>
                <a:cubicBezTo>
                  <a:pt x="97526" y="404052"/>
                  <a:pt x="37004" y="327003"/>
                  <a:pt x="37004" y="222021"/>
                </a:cubicBezTo>
                <a:lnTo>
                  <a:pt x="37004" y="110466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93" name="Graphic 124">
            <a:extLst>
              <a:ext uri="{FF2B5EF4-FFF2-40B4-BE49-F238E27FC236}">
                <a16:creationId xmlns:a16="http://schemas.microsoft.com/office/drawing/2014/main" id="{3CFAD32F-EC84-05CA-F882-BC98E51CF5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00788" y="2983430"/>
            <a:ext cx="363760" cy="363760"/>
          </a:xfrm>
          <a:custGeom>
            <a:avLst/>
            <a:gdLst>
              <a:gd name="connsiteX0" fmla="*/ 234937 w 318558"/>
              <a:gd name="connsiteY0" fmla="*/ 0 h 318558"/>
              <a:gd name="connsiteX1" fmla="*/ 286703 w 318558"/>
              <a:gd name="connsiteY1" fmla="*/ 51766 h 318558"/>
              <a:gd name="connsiteX2" fmla="*/ 286703 w 318558"/>
              <a:gd name="connsiteY2" fmla="*/ 160076 h 318558"/>
              <a:gd name="connsiteX3" fmla="*/ 270775 w 318558"/>
              <a:gd name="connsiteY3" fmla="*/ 167240 h 318558"/>
              <a:gd name="connsiteX4" fmla="*/ 262811 w 318558"/>
              <a:gd name="connsiteY4" fmla="*/ 143348 h 318558"/>
              <a:gd name="connsiteX5" fmla="*/ 262811 w 318558"/>
              <a:gd name="connsiteY5" fmla="*/ 87604 h 318558"/>
              <a:gd name="connsiteX6" fmla="*/ 23892 w 318558"/>
              <a:gd name="connsiteY6" fmla="*/ 87604 h 318558"/>
              <a:gd name="connsiteX7" fmla="*/ 23892 w 318558"/>
              <a:gd name="connsiteY7" fmla="*/ 234937 h 318558"/>
              <a:gd name="connsiteX8" fmla="*/ 51766 w 318558"/>
              <a:gd name="connsiteY8" fmla="*/ 262811 h 318558"/>
              <a:gd name="connsiteX9" fmla="*/ 127423 w 318558"/>
              <a:gd name="connsiteY9" fmla="*/ 262811 h 318558"/>
              <a:gd name="connsiteX10" fmla="*/ 127423 w 318558"/>
              <a:gd name="connsiteY10" fmla="*/ 286703 h 318558"/>
              <a:gd name="connsiteX11" fmla="*/ 51766 w 318558"/>
              <a:gd name="connsiteY11" fmla="*/ 286703 h 318558"/>
              <a:gd name="connsiteX12" fmla="*/ 0 w 318558"/>
              <a:gd name="connsiteY12" fmla="*/ 234937 h 318558"/>
              <a:gd name="connsiteX13" fmla="*/ 0 w 318558"/>
              <a:gd name="connsiteY13" fmla="*/ 51766 h 318558"/>
              <a:gd name="connsiteX14" fmla="*/ 51766 w 318558"/>
              <a:gd name="connsiteY14" fmla="*/ 0 h 318558"/>
              <a:gd name="connsiteX15" fmla="*/ 234937 w 318558"/>
              <a:gd name="connsiteY15" fmla="*/ 0 h 318558"/>
              <a:gd name="connsiteX16" fmla="*/ 234937 w 318558"/>
              <a:gd name="connsiteY16" fmla="*/ 23892 h 318558"/>
              <a:gd name="connsiteX17" fmla="*/ 51766 w 318558"/>
              <a:gd name="connsiteY17" fmla="*/ 23892 h 318558"/>
              <a:gd name="connsiteX18" fmla="*/ 23892 w 318558"/>
              <a:gd name="connsiteY18" fmla="*/ 51766 h 318558"/>
              <a:gd name="connsiteX19" fmla="*/ 23892 w 318558"/>
              <a:gd name="connsiteY19" fmla="*/ 63712 h 318558"/>
              <a:gd name="connsiteX20" fmla="*/ 262811 w 318558"/>
              <a:gd name="connsiteY20" fmla="*/ 63712 h 318558"/>
              <a:gd name="connsiteX21" fmla="*/ 262811 w 318558"/>
              <a:gd name="connsiteY21" fmla="*/ 51766 h 318558"/>
              <a:gd name="connsiteX22" fmla="*/ 234937 w 318558"/>
              <a:gd name="connsiteY22" fmla="*/ 23892 h 318558"/>
              <a:gd name="connsiteX23" fmla="*/ 230955 w 318558"/>
              <a:gd name="connsiteY23" fmla="*/ 143351 h 318558"/>
              <a:gd name="connsiteX24" fmla="*/ 207063 w 318558"/>
              <a:gd name="connsiteY24" fmla="*/ 167243 h 318558"/>
              <a:gd name="connsiteX25" fmla="*/ 207063 w 318558"/>
              <a:gd name="connsiteY25" fmla="*/ 294666 h 318558"/>
              <a:gd name="connsiteX26" fmla="*/ 230955 w 318558"/>
              <a:gd name="connsiteY26" fmla="*/ 318558 h 318558"/>
              <a:gd name="connsiteX27" fmla="*/ 254847 w 318558"/>
              <a:gd name="connsiteY27" fmla="*/ 294666 h 318558"/>
              <a:gd name="connsiteX28" fmla="*/ 254847 w 318558"/>
              <a:gd name="connsiteY28" fmla="*/ 167243 h 318558"/>
              <a:gd name="connsiteX29" fmla="*/ 230955 w 318558"/>
              <a:gd name="connsiteY29" fmla="*/ 143351 h 318558"/>
              <a:gd name="connsiteX30" fmla="*/ 167243 w 318558"/>
              <a:gd name="connsiteY30" fmla="*/ 207063 h 318558"/>
              <a:gd name="connsiteX31" fmla="*/ 143351 w 318558"/>
              <a:gd name="connsiteY31" fmla="*/ 230955 h 318558"/>
              <a:gd name="connsiteX32" fmla="*/ 143351 w 318558"/>
              <a:gd name="connsiteY32" fmla="*/ 294666 h 318558"/>
              <a:gd name="connsiteX33" fmla="*/ 167243 w 318558"/>
              <a:gd name="connsiteY33" fmla="*/ 318558 h 318558"/>
              <a:gd name="connsiteX34" fmla="*/ 191135 w 318558"/>
              <a:gd name="connsiteY34" fmla="*/ 294666 h 318558"/>
              <a:gd name="connsiteX35" fmla="*/ 191135 w 318558"/>
              <a:gd name="connsiteY35" fmla="*/ 230955 h 318558"/>
              <a:gd name="connsiteX36" fmla="*/ 167243 w 318558"/>
              <a:gd name="connsiteY36" fmla="*/ 207063 h 318558"/>
              <a:gd name="connsiteX37" fmla="*/ 270775 w 318558"/>
              <a:gd name="connsiteY37" fmla="*/ 199099 h 318558"/>
              <a:gd name="connsiteX38" fmla="*/ 294666 w 318558"/>
              <a:gd name="connsiteY38" fmla="*/ 175207 h 318558"/>
              <a:gd name="connsiteX39" fmla="*/ 318558 w 318558"/>
              <a:gd name="connsiteY39" fmla="*/ 199099 h 318558"/>
              <a:gd name="connsiteX40" fmla="*/ 318558 w 318558"/>
              <a:gd name="connsiteY40" fmla="*/ 294666 h 318558"/>
              <a:gd name="connsiteX41" fmla="*/ 294666 w 318558"/>
              <a:gd name="connsiteY41" fmla="*/ 318558 h 318558"/>
              <a:gd name="connsiteX42" fmla="*/ 270775 w 318558"/>
              <a:gd name="connsiteY42" fmla="*/ 294666 h 318558"/>
              <a:gd name="connsiteX43" fmla="*/ 270775 w 318558"/>
              <a:gd name="connsiteY43" fmla="*/ 199099 h 318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18558" h="318558">
                <a:moveTo>
                  <a:pt x="234937" y="0"/>
                </a:moveTo>
                <a:cubicBezTo>
                  <a:pt x="263526" y="0"/>
                  <a:pt x="286703" y="23176"/>
                  <a:pt x="286703" y="51766"/>
                </a:cubicBezTo>
                <a:lnTo>
                  <a:pt x="286703" y="160076"/>
                </a:lnTo>
                <a:cubicBezTo>
                  <a:pt x="280819" y="161270"/>
                  <a:pt x="275405" y="163763"/>
                  <a:pt x="270775" y="167240"/>
                </a:cubicBezTo>
                <a:cubicBezTo>
                  <a:pt x="270775" y="158276"/>
                  <a:pt x="267810" y="150003"/>
                  <a:pt x="262811" y="143348"/>
                </a:cubicBezTo>
                <a:lnTo>
                  <a:pt x="262811" y="87604"/>
                </a:lnTo>
                <a:lnTo>
                  <a:pt x="23892" y="87604"/>
                </a:lnTo>
                <a:lnTo>
                  <a:pt x="23892" y="234937"/>
                </a:lnTo>
                <a:cubicBezTo>
                  <a:pt x="23892" y="250331"/>
                  <a:pt x="36371" y="262811"/>
                  <a:pt x="51766" y="262811"/>
                </a:cubicBezTo>
                <a:lnTo>
                  <a:pt x="127423" y="262811"/>
                </a:lnTo>
                <a:lnTo>
                  <a:pt x="127423" y="286703"/>
                </a:lnTo>
                <a:lnTo>
                  <a:pt x="51766" y="286703"/>
                </a:lnTo>
                <a:cubicBezTo>
                  <a:pt x="23176" y="286703"/>
                  <a:pt x="0" y="263526"/>
                  <a:pt x="0" y="234937"/>
                </a:cubicBezTo>
                <a:lnTo>
                  <a:pt x="0" y="51766"/>
                </a:lnTo>
                <a:cubicBezTo>
                  <a:pt x="0" y="23176"/>
                  <a:pt x="23176" y="0"/>
                  <a:pt x="51766" y="0"/>
                </a:cubicBezTo>
                <a:lnTo>
                  <a:pt x="234937" y="0"/>
                </a:lnTo>
                <a:close/>
                <a:moveTo>
                  <a:pt x="234937" y="23892"/>
                </a:moveTo>
                <a:lnTo>
                  <a:pt x="51766" y="23892"/>
                </a:lnTo>
                <a:cubicBezTo>
                  <a:pt x="36371" y="23892"/>
                  <a:pt x="23892" y="36371"/>
                  <a:pt x="23892" y="51766"/>
                </a:cubicBezTo>
                <a:lnTo>
                  <a:pt x="23892" y="63712"/>
                </a:lnTo>
                <a:lnTo>
                  <a:pt x="262811" y="63712"/>
                </a:lnTo>
                <a:lnTo>
                  <a:pt x="262811" y="51766"/>
                </a:lnTo>
                <a:cubicBezTo>
                  <a:pt x="262811" y="36371"/>
                  <a:pt x="250331" y="23892"/>
                  <a:pt x="234937" y="23892"/>
                </a:cubicBezTo>
                <a:close/>
                <a:moveTo>
                  <a:pt x="230955" y="143351"/>
                </a:moveTo>
                <a:cubicBezTo>
                  <a:pt x="217760" y="143351"/>
                  <a:pt x="207063" y="154048"/>
                  <a:pt x="207063" y="167243"/>
                </a:cubicBezTo>
                <a:lnTo>
                  <a:pt x="207063" y="294666"/>
                </a:lnTo>
                <a:cubicBezTo>
                  <a:pt x="207063" y="307861"/>
                  <a:pt x="217760" y="318558"/>
                  <a:pt x="230955" y="318558"/>
                </a:cubicBezTo>
                <a:cubicBezTo>
                  <a:pt x="244149" y="318558"/>
                  <a:pt x="254847" y="307861"/>
                  <a:pt x="254847" y="294666"/>
                </a:cubicBezTo>
                <a:lnTo>
                  <a:pt x="254847" y="167243"/>
                </a:lnTo>
                <a:cubicBezTo>
                  <a:pt x="254847" y="154048"/>
                  <a:pt x="244149" y="143351"/>
                  <a:pt x="230955" y="143351"/>
                </a:cubicBezTo>
                <a:close/>
                <a:moveTo>
                  <a:pt x="167243" y="207063"/>
                </a:moveTo>
                <a:cubicBezTo>
                  <a:pt x="154048" y="207063"/>
                  <a:pt x="143351" y="217760"/>
                  <a:pt x="143351" y="230955"/>
                </a:cubicBezTo>
                <a:lnTo>
                  <a:pt x="143351" y="294666"/>
                </a:lnTo>
                <a:cubicBezTo>
                  <a:pt x="143351" y="307861"/>
                  <a:pt x="154048" y="318558"/>
                  <a:pt x="167243" y="318558"/>
                </a:cubicBezTo>
                <a:cubicBezTo>
                  <a:pt x="180438" y="318558"/>
                  <a:pt x="191135" y="307861"/>
                  <a:pt x="191135" y="294666"/>
                </a:cubicBezTo>
                <a:lnTo>
                  <a:pt x="191135" y="230955"/>
                </a:lnTo>
                <a:cubicBezTo>
                  <a:pt x="191135" y="217760"/>
                  <a:pt x="180438" y="207063"/>
                  <a:pt x="167243" y="207063"/>
                </a:cubicBezTo>
                <a:close/>
                <a:moveTo>
                  <a:pt x="270775" y="199099"/>
                </a:moveTo>
                <a:cubicBezTo>
                  <a:pt x="270775" y="185904"/>
                  <a:pt x="281472" y="175207"/>
                  <a:pt x="294666" y="175207"/>
                </a:cubicBezTo>
                <a:cubicBezTo>
                  <a:pt x="307861" y="175207"/>
                  <a:pt x="318558" y="185904"/>
                  <a:pt x="318558" y="199099"/>
                </a:cubicBezTo>
                <a:lnTo>
                  <a:pt x="318558" y="294666"/>
                </a:lnTo>
                <a:cubicBezTo>
                  <a:pt x="318558" y="307861"/>
                  <a:pt x="307861" y="318558"/>
                  <a:pt x="294666" y="318558"/>
                </a:cubicBezTo>
                <a:cubicBezTo>
                  <a:pt x="281472" y="318558"/>
                  <a:pt x="270775" y="307861"/>
                  <a:pt x="270775" y="294666"/>
                </a:cubicBezTo>
                <a:lnTo>
                  <a:pt x="270775" y="199099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94" name="Graphic 74">
            <a:extLst>
              <a:ext uri="{FF2B5EF4-FFF2-40B4-BE49-F238E27FC236}">
                <a16:creationId xmlns:a16="http://schemas.microsoft.com/office/drawing/2014/main" id="{C8F5CB4D-3D79-7ED7-E9EF-36379BB027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912138" y="2973826"/>
            <a:ext cx="367726" cy="382968"/>
          </a:xfrm>
          <a:custGeom>
            <a:avLst/>
            <a:gdLst>
              <a:gd name="connsiteX0" fmla="*/ 89274 w 178343"/>
              <a:gd name="connsiteY0" fmla="*/ 0 h 185737"/>
              <a:gd name="connsiteX1" fmla="*/ 110052 w 178343"/>
              <a:gd name="connsiteY1" fmla="*/ 2410 h 185737"/>
              <a:gd name="connsiteX2" fmla="*/ 115597 w 178343"/>
              <a:gd name="connsiteY2" fmla="*/ 8591 h 185737"/>
              <a:gd name="connsiteX3" fmla="*/ 117218 w 178343"/>
              <a:gd name="connsiteY3" fmla="*/ 23134 h 185737"/>
              <a:gd name="connsiteX4" fmla="*/ 130311 w 178343"/>
              <a:gd name="connsiteY4" fmla="*/ 34877 h 185737"/>
              <a:gd name="connsiteX5" fmla="*/ 135575 w 178343"/>
              <a:gd name="connsiteY5" fmla="*/ 33765 h 185737"/>
              <a:gd name="connsiteX6" fmla="*/ 148915 w 178343"/>
              <a:gd name="connsiteY6" fmla="*/ 27904 h 185737"/>
              <a:gd name="connsiteX7" fmla="*/ 157003 w 178343"/>
              <a:gd name="connsiteY7" fmla="*/ 29562 h 185737"/>
              <a:gd name="connsiteX8" fmla="*/ 178004 w 178343"/>
              <a:gd name="connsiteY8" fmla="*/ 65680 h 185737"/>
              <a:gd name="connsiteX9" fmla="*/ 175419 w 178343"/>
              <a:gd name="connsiteY9" fmla="*/ 73547 h 185737"/>
              <a:gd name="connsiteX10" fmla="*/ 163594 w 178343"/>
              <a:gd name="connsiteY10" fmla="*/ 82264 h 185737"/>
              <a:gd name="connsiteX11" fmla="*/ 158229 w 178343"/>
              <a:gd name="connsiteY11" fmla="*/ 92864 h 185737"/>
              <a:gd name="connsiteX12" fmla="*/ 163601 w 178343"/>
              <a:gd name="connsiteY12" fmla="*/ 103469 h 185737"/>
              <a:gd name="connsiteX13" fmla="*/ 175437 w 178343"/>
              <a:gd name="connsiteY13" fmla="*/ 112188 h 185737"/>
              <a:gd name="connsiteX14" fmla="*/ 178023 w 178343"/>
              <a:gd name="connsiteY14" fmla="*/ 120056 h 185737"/>
              <a:gd name="connsiteX15" fmla="*/ 157034 w 178343"/>
              <a:gd name="connsiteY15" fmla="*/ 156173 h 185737"/>
              <a:gd name="connsiteX16" fmla="*/ 148951 w 178343"/>
              <a:gd name="connsiteY16" fmla="*/ 157835 h 185737"/>
              <a:gd name="connsiteX17" fmla="*/ 135555 w 178343"/>
              <a:gd name="connsiteY17" fmla="*/ 151967 h 185737"/>
              <a:gd name="connsiteX18" fmla="*/ 123700 w 178343"/>
              <a:gd name="connsiteY18" fmla="*/ 152629 h 185737"/>
              <a:gd name="connsiteX19" fmla="*/ 117208 w 178343"/>
              <a:gd name="connsiteY19" fmla="*/ 162570 h 185737"/>
              <a:gd name="connsiteX20" fmla="*/ 115598 w 178343"/>
              <a:gd name="connsiteY20" fmla="*/ 177112 h 185737"/>
              <a:gd name="connsiteX21" fmla="*/ 110151 w 178343"/>
              <a:gd name="connsiteY21" fmla="*/ 183275 h 185737"/>
              <a:gd name="connsiteX22" fmla="*/ 68184 w 178343"/>
              <a:gd name="connsiteY22" fmla="*/ 183275 h 185737"/>
              <a:gd name="connsiteX23" fmla="*/ 62737 w 178343"/>
              <a:gd name="connsiteY23" fmla="*/ 177112 h 185737"/>
              <a:gd name="connsiteX24" fmla="*/ 61129 w 178343"/>
              <a:gd name="connsiteY24" fmla="*/ 162592 h 185737"/>
              <a:gd name="connsiteX25" fmla="*/ 54624 w 178343"/>
              <a:gd name="connsiteY25" fmla="*/ 152676 h 185737"/>
              <a:gd name="connsiteX26" fmla="*/ 42792 w 178343"/>
              <a:gd name="connsiteY26" fmla="*/ 152013 h 185737"/>
              <a:gd name="connsiteX27" fmla="*/ 29393 w 178343"/>
              <a:gd name="connsiteY27" fmla="*/ 157883 h 185737"/>
              <a:gd name="connsiteX28" fmla="*/ 21309 w 178343"/>
              <a:gd name="connsiteY28" fmla="*/ 156219 h 185737"/>
              <a:gd name="connsiteX29" fmla="*/ 320 w 178343"/>
              <a:gd name="connsiteY29" fmla="*/ 120061 h 185737"/>
              <a:gd name="connsiteX30" fmla="*/ 2907 w 178343"/>
              <a:gd name="connsiteY30" fmla="*/ 112198 h 185737"/>
              <a:gd name="connsiteX31" fmla="*/ 14750 w 178343"/>
              <a:gd name="connsiteY31" fmla="*/ 103473 h 185737"/>
              <a:gd name="connsiteX32" fmla="*/ 20115 w 178343"/>
              <a:gd name="connsiteY32" fmla="*/ 92874 h 185737"/>
              <a:gd name="connsiteX33" fmla="*/ 14745 w 178343"/>
              <a:gd name="connsiteY33" fmla="*/ 82270 h 185737"/>
              <a:gd name="connsiteX34" fmla="*/ 2910 w 178343"/>
              <a:gd name="connsiteY34" fmla="*/ 73560 h 185737"/>
              <a:gd name="connsiteX35" fmla="*/ 321 w 178343"/>
              <a:gd name="connsiteY35" fmla="*/ 65690 h 185737"/>
              <a:gd name="connsiteX36" fmla="*/ 21321 w 178343"/>
              <a:gd name="connsiteY36" fmla="*/ 29572 h 185737"/>
              <a:gd name="connsiteX37" fmla="*/ 29409 w 178343"/>
              <a:gd name="connsiteY37" fmla="*/ 27914 h 185737"/>
              <a:gd name="connsiteX38" fmla="*/ 42748 w 178343"/>
              <a:gd name="connsiteY38" fmla="*/ 33773 h 185737"/>
              <a:gd name="connsiteX39" fmla="*/ 54637 w 178343"/>
              <a:gd name="connsiteY39" fmla="*/ 33077 h 185737"/>
              <a:gd name="connsiteX40" fmla="*/ 61136 w 178343"/>
              <a:gd name="connsiteY40" fmla="*/ 23123 h 185737"/>
              <a:gd name="connsiteX41" fmla="*/ 62756 w 178343"/>
              <a:gd name="connsiteY41" fmla="*/ 8591 h 185737"/>
              <a:gd name="connsiteX42" fmla="*/ 68305 w 178343"/>
              <a:gd name="connsiteY42" fmla="*/ 2409 h 185737"/>
              <a:gd name="connsiteX43" fmla="*/ 89274 w 178343"/>
              <a:gd name="connsiteY43" fmla="*/ 0 h 185737"/>
              <a:gd name="connsiteX44" fmla="*/ 89275 w 178343"/>
              <a:gd name="connsiteY44" fmla="*/ 14287 h 185737"/>
              <a:gd name="connsiteX45" fmla="*/ 76373 w 178343"/>
              <a:gd name="connsiteY45" fmla="*/ 15402 h 185737"/>
              <a:gd name="connsiteX46" fmla="*/ 75336 w 178343"/>
              <a:gd name="connsiteY46" fmla="*/ 24710 h 185737"/>
              <a:gd name="connsiteX47" fmla="*/ 61825 w 178343"/>
              <a:gd name="connsiteY47" fmla="*/ 45425 h 185737"/>
              <a:gd name="connsiteX48" fmla="*/ 37004 w 178343"/>
              <a:gd name="connsiteY48" fmla="*/ 46855 h 185737"/>
              <a:gd name="connsiteX49" fmla="*/ 28448 w 178343"/>
              <a:gd name="connsiteY49" fmla="*/ 43096 h 185737"/>
              <a:gd name="connsiteX50" fmla="*/ 15610 w 178343"/>
              <a:gd name="connsiteY50" fmla="*/ 65167 h 185737"/>
              <a:gd name="connsiteX51" fmla="*/ 23209 w 178343"/>
              <a:gd name="connsiteY51" fmla="*/ 70759 h 185737"/>
              <a:gd name="connsiteX52" fmla="*/ 34403 w 178343"/>
              <a:gd name="connsiteY52" fmla="*/ 92874 h 185737"/>
              <a:gd name="connsiteX53" fmla="*/ 23217 w 178343"/>
              <a:gd name="connsiteY53" fmla="*/ 114981 h 185737"/>
              <a:gd name="connsiteX54" fmla="*/ 15606 w 178343"/>
              <a:gd name="connsiteY54" fmla="*/ 120588 h 185737"/>
              <a:gd name="connsiteX55" fmla="*/ 28445 w 178343"/>
              <a:gd name="connsiteY55" fmla="*/ 142700 h 185737"/>
              <a:gd name="connsiteX56" fmla="*/ 37066 w 178343"/>
              <a:gd name="connsiteY56" fmla="*/ 138923 h 185737"/>
              <a:gd name="connsiteX57" fmla="*/ 61759 w 178343"/>
              <a:gd name="connsiteY57" fmla="*/ 140298 h 185737"/>
              <a:gd name="connsiteX58" fmla="*/ 75327 w 178343"/>
              <a:gd name="connsiteY58" fmla="*/ 160997 h 185737"/>
              <a:gd name="connsiteX59" fmla="*/ 76364 w 178343"/>
              <a:gd name="connsiteY59" fmla="*/ 170369 h 185737"/>
              <a:gd name="connsiteX60" fmla="*/ 101970 w 178343"/>
              <a:gd name="connsiteY60" fmla="*/ 170369 h 185737"/>
              <a:gd name="connsiteX61" fmla="*/ 103007 w 178343"/>
              <a:gd name="connsiteY61" fmla="*/ 160998 h 185737"/>
              <a:gd name="connsiteX62" fmla="*/ 116551 w 178343"/>
              <a:gd name="connsiteY62" fmla="*/ 140258 h 185737"/>
              <a:gd name="connsiteX63" fmla="*/ 141286 w 178343"/>
              <a:gd name="connsiteY63" fmla="*/ 138879 h 185737"/>
              <a:gd name="connsiteX64" fmla="*/ 149900 w 178343"/>
              <a:gd name="connsiteY64" fmla="*/ 142653 h 185737"/>
              <a:gd name="connsiteX65" fmla="*/ 162735 w 178343"/>
              <a:gd name="connsiteY65" fmla="*/ 120577 h 185737"/>
              <a:gd name="connsiteX66" fmla="*/ 155134 w 178343"/>
              <a:gd name="connsiteY66" fmla="*/ 114977 h 185737"/>
              <a:gd name="connsiteX67" fmla="*/ 143941 w 178343"/>
              <a:gd name="connsiteY67" fmla="*/ 92864 h 185737"/>
              <a:gd name="connsiteX68" fmla="*/ 155126 w 178343"/>
              <a:gd name="connsiteY68" fmla="*/ 70756 h 185737"/>
              <a:gd name="connsiteX69" fmla="*/ 162716 w 178343"/>
              <a:gd name="connsiteY69" fmla="*/ 65161 h 185737"/>
              <a:gd name="connsiteX70" fmla="*/ 149877 w 178343"/>
              <a:gd name="connsiteY70" fmla="*/ 43087 h 185737"/>
              <a:gd name="connsiteX71" fmla="*/ 141338 w 178343"/>
              <a:gd name="connsiteY71" fmla="*/ 46838 h 185737"/>
              <a:gd name="connsiteX72" fmla="*/ 130293 w 178343"/>
              <a:gd name="connsiteY72" fmla="*/ 49164 h 185737"/>
              <a:gd name="connsiteX73" fmla="*/ 103017 w 178343"/>
              <a:gd name="connsiteY73" fmla="*/ 24706 h 185737"/>
              <a:gd name="connsiteX74" fmla="*/ 101980 w 178343"/>
              <a:gd name="connsiteY74" fmla="*/ 15399 h 185737"/>
              <a:gd name="connsiteX75" fmla="*/ 89275 w 178343"/>
              <a:gd name="connsiteY75" fmla="*/ 14287 h 185737"/>
              <a:gd name="connsiteX76" fmla="*/ 89155 w 178343"/>
              <a:gd name="connsiteY76" fmla="*/ 57150 h 185737"/>
              <a:gd name="connsiteX77" fmla="*/ 124873 w 178343"/>
              <a:gd name="connsiteY77" fmla="*/ 92869 h 185737"/>
              <a:gd name="connsiteX78" fmla="*/ 89155 w 178343"/>
              <a:gd name="connsiteY78" fmla="*/ 128588 h 185737"/>
              <a:gd name="connsiteX79" fmla="*/ 53436 w 178343"/>
              <a:gd name="connsiteY79" fmla="*/ 92869 h 185737"/>
              <a:gd name="connsiteX80" fmla="*/ 89155 w 178343"/>
              <a:gd name="connsiteY80" fmla="*/ 57150 h 185737"/>
              <a:gd name="connsiteX81" fmla="*/ 89155 w 178343"/>
              <a:gd name="connsiteY81" fmla="*/ 71437 h 185737"/>
              <a:gd name="connsiteX82" fmla="*/ 67723 w 178343"/>
              <a:gd name="connsiteY82" fmla="*/ 92869 h 185737"/>
              <a:gd name="connsiteX83" fmla="*/ 89155 w 178343"/>
              <a:gd name="connsiteY83" fmla="*/ 114300 h 185737"/>
              <a:gd name="connsiteX84" fmla="*/ 110586 w 178343"/>
              <a:gd name="connsiteY84" fmla="*/ 92869 h 185737"/>
              <a:gd name="connsiteX85" fmla="*/ 89155 w 178343"/>
              <a:gd name="connsiteY85" fmla="*/ 71437 h 18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78343" h="185737">
                <a:moveTo>
                  <a:pt x="89274" y="0"/>
                </a:moveTo>
                <a:cubicBezTo>
                  <a:pt x="96264" y="81"/>
                  <a:pt x="103228" y="888"/>
                  <a:pt x="110052" y="2410"/>
                </a:cubicBezTo>
                <a:cubicBezTo>
                  <a:pt x="113031" y="3075"/>
                  <a:pt x="115259" y="5558"/>
                  <a:pt x="115597" y="8591"/>
                </a:cubicBezTo>
                <a:lnTo>
                  <a:pt x="117218" y="23134"/>
                </a:lnTo>
                <a:cubicBezTo>
                  <a:pt x="117952" y="29812"/>
                  <a:pt x="123590" y="34870"/>
                  <a:pt x="130311" y="34877"/>
                </a:cubicBezTo>
                <a:cubicBezTo>
                  <a:pt x="132118" y="34879"/>
                  <a:pt x="133905" y="34503"/>
                  <a:pt x="135575" y="33765"/>
                </a:cubicBezTo>
                <a:lnTo>
                  <a:pt x="148915" y="27904"/>
                </a:lnTo>
                <a:cubicBezTo>
                  <a:pt x="151690" y="26685"/>
                  <a:pt x="154932" y="27350"/>
                  <a:pt x="157003" y="29562"/>
                </a:cubicBezTo>
                <a:cubicBezTo>
                  <a:pt x="166644" y="39859"/>
                  <a:pt x="173824" y="52208"/>
                  <a:pt x="178004" y="65680"/>
                </a:cubicBezTo>
                <a:cubicBezTo>
                  <a:pt x="178905" y="68586"/>
                  <a:pt x="177868" y="71743"/>
                  <a:pt x="175419" y="73547"/>
                </a:cubicBezTo>
                <a:lnTo>
                  <a:pt x="163594" y="82264"/>
                </a:lnTo>
                <a:cubicBezTo>
                  <a:pt x="160221" y="84742"/>
                  <a:pt x="158229" y="88678"/>
                  <a:pt x="158229" y="92864"/>
                </a:cubicBezTo>
                <a:cubicBezTo>
                  <a:pt x="158229" y="97049"/>
                  <a:pt x="160221" y="100985"/>
                  <a:pt x="163601" y="103469"/>
                </a:cubicBezTo>
                <a:lnTo>
                  <a:pt x="175437" y="112188"/>
                </a:lnTo>
                <a:cubicBezTo>
                  <a:pt x="177886" y="113992"/>
                  <a:pt x="178924" y="117150"/>
                  <a:pt x="178023" y="120056"/>
                </a:cubicBezTo>
                <a:cubicBezTo>
                  <a:pt x="173845" y="133526"/>
                  <a:pt x="166669" y="145874"/>
                  <a:pt x="157034" y="156173"/>
                </a:cubicBezTo>
                <a:cubicBezTo>
                  <a:pt x="154964" y="158385"/>
                  <a:pt x="151725" y="159051"/>
                  <a:pt x="148951" y="157835"/>
                </a:cubicBezTo>
                <a:lnTo>
                  <a:pt x="135555" y="151967"/>
                </a:lnTo>
                <a:cubicBezTo>
                  <a:pt x="131723" y="150289"/>
                  <a:pt x="127321" y="150535"/>
                  <a:pt x="123700" y="152629"/>
                </a:cubicBezTo>
                <a:cubicBezTo>
                  <a:pt x="120078" y="154721"/>
                  <a:pt x="117669" y="158412"/>
                  <a:pt x="117208" y="162570"/>
                </a:cubicBezTo>
                <a:lnTo>
                  <a:pt x="115598" y="177112"/>
                </a:lnTo>
                <a:cubicBezTo>
                  <a:pt x="115265" y="180110"/>
                  <a:pt x="113085" y="182577"/>
                  <a:pt x="110151" y="183275"/>
                </a:cubicBezTo>
                <a:cubicBezTo>
                  <a:pt x="96355" y="186558"/>
                  <a:pt x="81980" y="186558"/>
                  <a:pt x="68184" y="183275"/>
                </a:cubicBezTo>
                <a:cubicBezTo>
                  <a:pt x="65249" y="182577"/>
                  <a:pt x="63069" y="180110"/>
                  <a:pt x="62737" y="177112"/>
                </a:cubicBezTo>
                <a:lnTo>
                  <a:pt x="61129" y="162592"/>
                </a:lnTo>
                <a:cubicBezTo>
                  <a:pt x="60656" y="158442"/>
                  <a:pt x="58242" y="154762"/>
                  <a:pt x="54624" y="152676"/>
                </a:cubicBezTo>
                <a:cubicBezTo>
                  <a:pt x="51005" y="150590"/>
                  <a:pt x="46611" y="150345"/>
                  <a:pt x="42792" y="152013"/>
                </a:cubicBezTo>
                <a:lnTo>
                  <a:pt x="29393" y="157883"/>
                </a:lnTo>
                <a:cubicBezTo>
                  <a:pt x="26618" y="159099"/>
                  <a:pt x="23378" y="158432"/>
                  <a:pt x="21309" y="156219"/>
                </a:cubicBezTo>
                <a:cubicBezTo>
                  <a:pt x="11668" y="145909"/>
                  <a:pt x="4491" y="133545"/>
                  <a:pt x="320" y="120061"/>
                </a:cubicBezTo>
                <a:cubicBezTo>
                  <a:pt x="-579" y="117157"/>
                  <a:pt x="459" y="114001"/>
                  <a:pt x="2907" y="112198"/>
                </a:cubicBezTo>
                <a:lnTo>
                  <a:pt x="14750" y="103473"/>
                </a:lnTo>
                <a:cubicBezTo>
                  <a:pt x="18123" y="100995"/>
                  <a:pt x="20115" y="97059"/>
                  <a:pt x="20115" y="92874"/>
                </a:cubicBezTo>
                <a:cubicBezTo>
                  <a:pt x="20115" y="88687"/>
                  <a:pt x="18123" y="84752"/>
                  <a:pt x="14745" y="82270"/>
                </a:cubicBezTo>
                <a:lnTo>
                  <a:pt x="2910" y="73560"/>
                </a:lnTo>
                <a:cubicBezTo>
                  <a:pt x="459" y="71756"/>
                  <a:pt x="-581" y="68597"/>
                  <a:pt x="321" y="65690"/>
                </a:cubicBezTo>
                <a:cubicBezTo>
                  <a:pt x="4500" y="52217"/>
                  <a:pt x="11680" y="39868"/>
                  <a:pt x="21321" y="29572"/>
                </a:cubicBezTo>
                <a:cubicBezTo>
                  <a:pt x="23393" y="27359"/>
                  <a:pt x="26635" y="26695"/>
                  <a:pt x="29409" y="27914"/>
                </a:cubicBezTo>
                <a:lnTo>
                  <a:pt x="42748" y="33773"/>
                </a:lnTo>
                <a:cubicBezTo>
                  <a:pt x="46586" y="35457"/>
                  <a:pt x="50998" y="35203"/>
                  <a:pt x="54637" y="33077"/>
                </a:cubicBezTo>
                <a:cubicBezTo>
                  <a:pt x="58259" y="30976"/>
                  <a:pt x="60671" y="27282"/>
                  <a:pt x="61136" y="23123"/>
                </a:cubicBezTo>
                <a:lnTo>
                  <a:pt x="62756" y="8591"/>
                </a:lnTo>
                <a:cubicBezTo>
                  <a:pt x="63095" y="5556"/>
                  <a:pt x="65324" y="3072"/>
                  <a:pt x="68305" y="2409"/>
                </a:cubicBezTo>
                <a:cubicBezTo>
                  <a:pt x="75138" y="890"/>
                  <a:pt x="82108" y="82"/>
                  <a:pt x="89274" y="0"/>
                </a:cubicBezTo>
                <a:close/>
                <a:moveTo>
                  <a:pt x="89275" y="14287"/>
                </a:moveTo>
                <a:cubicBezTo>
                  <a:pt x="84950" y="14337"/>
                  <a:pt x="80637" y="14711"/>
                  <a:pt x="76373" y="15402"/>
                </a:cubicBezTo>
                <a:lnTo>
                  <a:pt x="75336" y="24710"/>
                </a:lnTo>
                <a:cubicBezTo>
                  <a:pt x="74366" y="33373"/>
                  <a:pt x="69346" y="41062"/>
                  <a:pt x="61825" y="45425"/>
                </a:cubicBezTo>
                <a:cubicBezTo>
                  <a:pt x="54257" y="49846"/>
                  <a:pt x="45031" y="50378"/>
                  <a:pt x="37004" y="46855"/>
                </a:cubicBezTo>
                <a:lnTo>
                  <a:pt x="28448" y="43096"/>
                </a:lnTo>
                <a:cubicBezTo>
                  <a:pt x="23000" y="49708"/>
                  <a:pt x="18664" y="57163"/>
                  <a:pt x="15610" y="65167"/>
                </a:cubicBezTo>
                <a:lnTo>
                  <a:pt x="23209" y="70759"/>
                </a:lnTo>
                <a:cubicBezTo>
                  <a:pt x="30246" y="75929"/>
                  <a:pt x="34403" y="84141"/>
                  <a:pt x="34403" y="92874"/>
                </a:cubicBezTo>
                <a:cubicBezTo>
                  <a:pt x="34403" y="101605"/>
                  <a:pt x="30246" y="109817"/>
                  <a:pt x="23217" y="114981"/>
                </a:cubicBezTo>
                <a:lnTo>
                  <a:pt x="15606" y="120588"/>
                </a:lnTo>
                <a:cubicBezTo>
                  <a:pt x="18657" y="128607"/>
                  <a:pt x="22994" y="136075"/>
                  <a:pt x="28445" y="142700"/>
                </a:cubicBezTo>
                <a:lnTo>
                  <a:pt x="37066" y="138923"/>
                </a:lnTo>
                <a:cubicBezTo>
                  <a:pt x="45049" y="135438"/>
                  <a:pt x="54212" y="135947"/>
                  <a:pt x="61759" y="140298"/>
                </a:cubicBezTo>
                <a:cubicBezTo>
                  <a:pt x="69305" y="144648"/>
                  <a:pt x="74339" y="152321"/>
                  <a:pt x="75327" y="160997"/>
                </a:cubicBezTo>
                <a:lnTo>
                  <a:pt x="76364" y="170369"/>
                </a:lnTo>
                <a:cubicBezTo>
                  <a:pt x="84839" y="171810"/>
                  <a:pt x="93495" y="171810"/>
                  <a:pt x="101970" y="170369"/>
                </a:cubicBezTo>
                <a:lnTo>
                  <a:pt x="103007" y="160998"/>
                </a:lnTo>
                <a:cubicBezTo>
                  <a:pt x="103967" y="152325"/>
                  <a:pt x="108995" y="144625"/>
                  <a:pt x="116551" y="140258"/>
                </a:cubicBezTo>
                <a:cubicBezTo>
                  <a:pt x="124107" y="135891"/>
                  <a:pt x="133289" y="135379"/>
                  <a:pt x="141286" y="138879"/>
                </a:cubicBezTo>
                <a:lnTo>
                  <a:pt x="149900" y="142653"/>
                </a:lnTo>
                <a:cubicBezTo>
                  <a:pt x="155347" y="136039"/>
                  <a:pt x="159682" y="128583"/>
                  <a:pt x="162735" y="120577"/>
                </a:cubicBezTo>
                <a:lnTo>
                  <a:pt x="155134" y="114977"/>
                </a:lnTo>
                <a:cubicBezTo>
                  <a:pt x="148097" y="109807"/>
                  <a:pt x="143941" y="101596"/>
                  <a:pt x="143941" y="92864"/>
                </a:cubicBezTo>
                <a:cubicBezTo>
                  <a:pt x="143941" y="84131"/>
                  <a:pt x="148097" y="75920"/>
                  <a:pt x="155126" y="70756"/>
                </a:cubicBezTo>
                <a:lnTo>
                  <a:pt x="162716" y="65161"/>
                </a:lnTo>
                <a:cubicBezTo>
                  <a:pt x="159662" y="57156"/>
                  <a:pt x="155326" y="49700"/>
                  <a:pt x="149877" y="43087"/>
                </a:cubicBezTo>
                <a:lnTo>
                  <a:pt x="141338" y="46838"/>
                </a:lnTo>
                <a:cubicBezTo>
                  <a:pt x="137858" y="48378"/>
                  <a:pt x="134095" y="49170"/>
                  <a:pt x="130293" y="49164"/>
                </a:cubicBezTo>
                <a:cubicBezTo>
                  <a:pt x="116294" y="49149"/>
                  <a:pt x="104545" y="38610"/>
                  <a:pt x="103017" y="24706"/>
                </a:cubicBezTo>
                <a:lnTo>
                  <a:pt x="101980" y="15399"/>
                </a:lnTo>
                <a:cubicBezTo>
                  <a:pt x="97737" y="14709"/>
                  <a:pt x="93468" y="14336"/>
                  <a:pt x="89275" y="14287"/>
                </a:cubicBezTo>
                <a:close/>
                <a:moveTo>
                  <a:pt x="89155" y="57150"/>
                </a:moveTo>
                <a:cubicBezTo>
                  <a:pt x="108882" y="57150"/>
                  <a:pt x="124873" y="73141"/>
                  <a:pt x="124873" y="92869"/>
                </a:cubicBezTo>
                <a:cubicBezTo>
                  <a:pt x="124873" y="112595"/>
                  <a:pt x="108882" y="128588"/>
                  <a:pt x="89155" y="128588"/>
                </a:cubicBezTo>
                <a:cubicBezTo>
                  <a:pt x="69428" y="128588"/>
                  <a:pt x="53436" y="112595"/>
                  <a:pt x="53436" y="92869"/>
                </a:cubicBezTo>
                <a:cubicBezTo>
                  <a:pt x="53436" y="73141"/>
                  <a:pt x="69428" y="57150"/>
                  <a:pt x="89155" y="57150"/>
                </a:cubicBezTo>
                <a:close/>
                <a:moveTo>
                  <a:pt x="89155" y="71437"/>
                </a:moveTo>
                <a:cubicBezTo>
                  <a:pt x="77318" y="71437"/>
                  <a:pt x="67723" y="81032"/>
                  <a:pt x="67723" y="92869"/>
                </a:cubicBezTo>
                <a:cubicBezTo>
                  <a:pt x="67723" y="104705"/>
                  <a:pt x="77318" y="114300"/>
                  <a:pt x="89155" y="114300"/>
                </a:cubicBezTo>
                <a:cubicBezTo>
                  <a:pt x="100990" y="114300"/>
                  <a:pt x="110586" y="104705"/>
                  <a:pt x="110586" y="92869"/>
                </a:cubicBezTo>
                <a:cubicBezTo>
                  <a:pt x="110586" y="81032"/>
                  <a:pt x="100990" y="71437"/>
                  <a:pt x="89155" y="71437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>
            <a:outerShdw blurRad="127000" dist="50800" dir="5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Sans Display Semibold"/>
              <a:ea typeface="+mn-ea"/>
              <a:cs typeface="+mn-c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E2A67DE-D411-2E3E-25CA-F03F40165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046" cy="492443"/>
          </a:xfrm>
        </p:spPr>
        <p:txBody>
          <a:bodyPr>
            <a:normAutofit fontScale="90000"/>
          </a:bodyPr>
          <a:lstStyle/>
          <a:p>
            <a:pPr algn="ctr"/>
            <a:r>
              <a:rPr lang="en-US"/>
              <a:t>Copilot Control System</a:t>
            </a:r>
            <a:endParaRPr lang="en-IN"/>
          </a:p>
        </p:txBody>
      </p:sp>
      <p:pic>
        <p:nvPicPr>
          <p:cNvPr id="79" name="Picture 4" descr="Microsoft 365 Copilot logo">
            <a:extLst>
              <a:ext uri="{FF2B5EF4-FFF2-40B4-BE49-F238E27FC236}">
                <a16:creationId xmlns:a16="http://schemas.microsoft.com/office/drawing/2014/main" id="{C44A39F9-FA1E-46AC-2150-628B092A4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/>
        </p:blipFill>
        <p:spPr bwMode="auto">
          <a:xfrm>
            <a:off x="4740216" y="1820306"/>
            <a:ext cx="575423" cy="575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7E647260-981D-DC75-6FD3-12CD35436F3B}"/>
              </a:ext>
            </a:extLst>
          </p:cNvPr>
          <p:cNvSpPr txBox="1"/>
          <p:nvPr/>
        </p:nvSpPr>
        <p:spPr>
          <a:xfrm>
            <a:off x="5473759" y="1954129"/>
            <a:ext cx="1978025" cy="307777"/>
          </a:xfrm>
          <a:prstGeom prst="rect">
            <a:avLst/>
          </a:prstGeom>
          <a:noFill/>
          <a:ln w="19050" cap="rnd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 kumimoji="0" sz="7200" b="0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0">
                      <a:srgbClr val="C03BC4"/>
                    </a:gs>
                    <a:gs pos="99000">
                      <a:srgbClr val="0078D4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20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n-ea"/>
                <a:cs typeface="Segoe UI Semibold" panose="020B0502040204020203" pitchFamily="34" charset="0"/>
              </a:rPr>
              <a:t>Copilot + Agent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FD29F2F-DBF5-5181-E1BA-95715E8D77B6}"/>
              </a:ext>
            </a:extLst>
          </p:cNvPr>
          <p:cNvSpPr txBox="1">
            <a:spLocks/>
          </p:cNvSpPr>
          <p:nvPr/>
        </p:nvSpPr>
        <p:spPr>
          <a:xfrm>
            <a:off x="1747311" y="3654146"/>
            <a:ext cx="1924046" cy="553998"/>
          </a:xfrm>
          <a:prstGeom prst="rect">
            <a:avLst/>
          </a:prstGeom>
          <a:noFill/>
          <a:ln w="19050" cap="rnd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 kumimoji="0" sz="7200" b="0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0">
                      <a:srgbClr val="C03BC4"/>
                    </a:gs>
                    <a:gs pos="99000">
                      <a:srgbClr val="0078D4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 w="3175"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Segoe UI Semibold" panose="020B0502040204020203" pitchFamily="34" charset="0"/>
              </a:rPr>
              <a:t>Security &amp; Governanc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9CBCF84-697E-D745-98D3-B1FA3C41BDBA}"/>
              </a:ext>
            </a:extLst>
          </p:cNvPr>
          <p:cNvSpPr txBox="1"/>
          <p:nvPr/>
        </p:nvSpPr>
        <p:spPr>
          <a:xfrm>
            <a:off x="1107440" y="4671798"/>
            <a:ext cx="3203787" cy="113877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ata secur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AI secur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Compliance &amp; privac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C4FFEB6-923F-7E71-F04A-6BC1425A40E0}"/>
              </a:ext>
            </a:extLst>
          </p:cNvPr>
          <p:cNvSpPr txBox="1">
            <a:spLocks/>
          </p:cNvSpPr>
          <p:nvPr/>
        </p:nvSpPr>
        <p:spPr>
          <a:xfrm>
            <a:off x="5133978" y="3654146"/>
            <a:ext cx="1924046" cy="553998"/>
          </a:xfrm>
          <a:prstGeom prst="rect">
            <a:avLst/>
          </a:prstGeom>
          <a:noFill/>
          <a:ln w="19050" cap="rnd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 kumimoji="0" sz="7200" b="0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0">
                      <a:srgbClr val="C03BC4"/>
                    </a:gs>
                    <a:gs pos="99000">
                      <a:srgbClr val="0078D4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 w="3175"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Segoe UI Semibold" panose="020B0502040204020203" pitchFamily="34" charset="0"/>
              </a:rPr>
              <a:t>Management Control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AE37D01-E94D-87CC-4FB5-FF33ACE589C2}"/>
              </a:ext>
            </a:extLst>
          </p:cNvPr>
          <p:cNvSpPr txBox="1"/>
          <p:nvPr/>
        </p:nvSpPr>
        <p:spPr>
          <a:xfrm>
            <a:off x="4494107" y="4671798"/>
            <a:ext cx="3203787" cy="113877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Licensing &amp; met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Agent lifecyc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Customizatio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86DD1E0-59A7-F965-0656-BFE351E262C4}"/>
              </a:ext>
            </a:extLst>
          </p:cNvPr>
          <p:cNvSpPr txBox="1">
            <a:spLocks/>
          </p:cNvSpPr>
          <p:nvPr/>
        </p:nvSpPr>
        <p:spPr>
          <a:xfrm>
            <a:off x="8520645" y="3654146"/>
            <a:ext cx="1924046" cy="553998"/>
          </a:xfrm>
          <a:prstGeom prst="rect">
            <a:avLst/>
          </a:prstGeom>
          <a:noFill/>
          <a:ln w="19050" cap="rnd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R="0" lvl="0" indent="0" algn="ctr" defTabSz="914437" fontAlgn="base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1371655" algn="l"/>
              </a:tabLst>
              <a:defRPr kumimoji="0" sz="7200" b="0" i="0" u="none" strike="noStrike" cap="none" spc="0" normalizeH="0" baseline="0">
                <a:ln w="3175">
                  <a:noFill/>
                </a:ln>
                <a:gradFill flip="none" rotWithShape="1">
                  <a:gsLst>
                    <a:gs pos="0">
                      <a:srgbClr val="C03BC4"/>
                    </a:gs>
                    <a:gs pos="99000">
                      <a:srgbClr val="0078D4"/>
                    </a:gs>
                  </a:gsLst>
                  <a:lin ang="13500000" scaled="1"/>
                  <a:tileRect/>
                </a:gradFill>
                <a:effectLst/>
                <a:uLnTx/>
                <a:uFillTx/>
                <a:latin typeface="+mj-lt"/>
                <a:cs typeface="Segoe UI Semibold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71655" algn="l"/>
              </a:tabLst>
              <a:defRPr/>
            </a:pPr>
            <a:r>
              <a:rPr kumimoji="0" lang="en-US" sz="1800" b="0" i="0" u="none" strike="noStrike" kern="1200" cap="none" spc="0" normalizeH="0" baseline="0" noProof="0">
                <a:ln w="3175"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Segoe UI Semibold" panose="020B0502040204020203" pitchFamily="34" charset="0"/>
              </a:rPr>
              <a:t>Measurement &amp; Reporting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5C014BF-F2E0-EF5A-820B-D404EBA2066E}"/>
              </a:ext>
            </a:extLst>
          </p:cNvPr>
          <p:cNvSpPr txBox="1"/>
          <p:nvPr/>
        </p:nvSpPr>
        <p:spPr>
          <a:xfrm>
            <a:off x="7880774" y="4671798"/>
            <a:ext cx="3203787" cy="113877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Readiness and adop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oductivity impac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Business value &amp; ROI</a:t>
            </a:r>
          </a:p>
        </p:txBody>
      </p:sp>
    </p:spTree>
    <p:extLst>
      <p:ext uri="{BB962C8B-B14F-4D97-AF65-F5344CB8AC3E}">
        <p14:creationId xmlns:p14="http://schemas.microsoft.com/office/powerpoint/2010/main" val="309711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9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14" dur="700" spd="-100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19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24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29" dur="7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34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44" dur="7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54" dur="700" spd="-100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59" dur="700" spd="-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64" dur="700" spd="-100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69" dur="700" spd="-100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74" dur="700" spd="-100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79" dur="700" spd="-100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84" dur="700" spd="-100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89" dur="700" spd="-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94" dur="7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99" dur="700" spd="-100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42" presetClass="path" presetSubtype="0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1.04167E-6 7.40741E-7 L -1.04167E-6 0.03542 " pathEditMode="relative" rAng="0" ptsTypes="AA">
                                      <p:cBhvr>
                                        <p:cTn id="104" dur="700" spd="-100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81" grpId="0" animBg="1"/>
      <p:bldP spid="81" grpId="1" animBg="1"/>
      <p:bldP spid="82" grpId="0" animBg="1"/>
      <p:bldP spid="82" grpId="1" animBg="1"/>
      <p:bldP spid="83" grpId="0" animBg="1"/>
      <p:bldP spid="83" grpId="1" animBg="1"/>
      <p:bldP spid="90" grpId="0" animBg="1"/>
      <p:bldP spid="90" grpId="1" animBg="1"/>
      <p:bldP spid="91" grpId="0" animBg="1"/>
      <p:bldP spid="91" grpId="1" animBg="1"/>
      <p:bldP spid="92" grpId="0" animBg="1"/>
      <p:bldP spid="92" grpId="1" animBg="1"/>
      <p:bldP spid="93" grpId="0" animBg="1"/>
      <p:bldP spid="93" grpId="1" animBg="1"/>
      <p:bldP spid="94" grpId="0" animBg="1"/>
      <p:bldP spid="94" grpId="1" animBg="1"/>
      <p:bldP spid="78" grpId="0"/>
      <p:bldP spid="78" grpId="1"/>
      <p:bldP spid="84" grpId="0"/>
      <p:bldP spid="84" grpId="1"/>
      <p:bldP spid="87" grpId="0"/>
      <p:bldP spid="87" grpId="1"/>
      <p:bldP spid="85" grpId="0"/>
      <p:bldP spid="85" grpId="1"/>
      <p:bldP spid="88" grpId="0"/>
      <p:bldP spid="88" grpId="1"/>
      <p:bldP spid="86" grpId="0"/>
      <p:bldP spid="86" grpId="1"/>
      <p:bldP spid="89" grpId="0"/>
      <p:bldP spid="89" grpId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BCB33-3B5E-1C58-6F7A-100E9C2A03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DC18CD66-716B-E940-959B-DBFA09049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89D0B86-9F11-A56D-0BEC-6FB81CA6B9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/>
            <p:nvPr/>
          </p:nvGrpSpPr>
          <p:grpSpPr>
            <a:xfrm>
              <a:off x="0" y="0"/>
              <a:ext cx="12192000" cy="6858000"/>
              <a:chOff x="0" y="0"/>
              <a:chExt cx="12192000" cy="6858000"/>
            </a:xfrm>
          </p:grpSpPr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255CF38E-A1C6-1E1F-55F8-F31A9F0445F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055" r="3055"/>
              <a:stretch/>
            </p:blipFill>
            <p:spPr>
              <a:xfrm>
                <a:off x="0" y="0"/>
                <a:ext cx="12192000" cy="6858000"/>
              </a:xfrm>
              <a:prstGeom prst="rect">
                <a:avLst/>
              </a:prstGeom>
            </p:spPr>
          </p:pic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3F162C25-4E8C-E9F0-2445-0812A95B574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0"/>
                <a:ext cx="12191998" cy="6858000"/>
              </a:xfrm>
              <a:prstGeom prst="rect">
                <a:avLst/>
              </a:prstGeom>
              <a:solidFill>
                <a:schemeClr val="bg1">
                  <a:alpha val="75000"/>
                </a:schemeClr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Display"/>
                  <a:ea typeface="+mn-ea"/>
                  <a:cs typeface="Segoe UI" pitchFamily="34" charset="0"/>
                </a:endParaRPr>
              </a:p>
            </p:txBody>
          </p:sp>
          <p:sp>
            <p:nvSpPr>
              <p:cNvPr id="63" name="Graphic 34_1">
                <a:extLst>
                  <a:ext uri="{FF2B5EF4-FFF2-40B4-BE49-F238E27FC236}">
                    <a16:creationId xmlns:a16="http://schemas.microsoft.com/office/drawing/2014/main" id="{5702F1CA-6880-3980-066F-07DEC53FC5D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 rot="16200000">
                <a:off x="-627105" y="1143000"/>
                <a:ext cx="2286000" cy="0"/>
              </a:xfrm>
              <a:custGeom>
                <a:avLst/>
                <a:gdLst>
                  <a:gd name="connsiteX0" fmla="*/ 0 w 12191998"/>
                  <a:gd name="connsiteY0" fmla="*/ 0 h 863854"/>
                  <a:gd name="connsiteX1" fmla="*/ 12191998 w 12191998"/>
                  <a:gd name="connsiteY1" fmla="*/ 0 h 863854"/>
                  <a:gd name="connsiteX2" fmla="*/ 12191998 w 12191998"/>
                  <a:gd name="connsiteY2" fmla="*/ 863854 h 863854"/>
                  <a:gd name="connsiteX3" fmla="*/ 0 w 12191998"/>
                  <a:gd name="connsiteY3" fmla="*/ 863854 h 863854"/>
                  <a:gd name="connsiteX4" fmla="*/ 0 w 12191998"/>
                  <a:gd name="connsiteY4" fmla="*/ 0 h 863854"/>
                  <a:gd name="connsiteX0" fmla="*/ 0 w 12191998"/>
                  <a:gd name="connsiteY0" fmla="*/ 0 h 863854"/>
                  <a:gd name="connsiteX1" fmla="*/ 12191998 w 12191998"/>
                  <a:gd name="connsiteY1" fmla="*/ 0 h 863854"/>
                  <a:gd name="connsiteX2" fmla="*/ 12191998 w 12191998"/>
                  <a:gd name="connsiteY2" fmla="*/ 863854 h 863854"/>
                  <a:gd name="connsiteX3" fmla="*/ 0 w 12191998"/>
                  <a:gd name="connsiteY3" fmla="*/ 863854 h 863854"/>
                  <a:gd name="connsiteX4" fmla="*/ 91440 w 12191998"/>
                  <a:gd name="connsiteY4" fmla="*/ 91440 h 863854"/>
                  <a:gd name="connsiteX0" fmla="*/ 0 w 12191998"/>
                  <a:gd name="connsiteY0" fmla="*/ 0 h 863854"/>
                  <a:gd name="connsiteX1" fmla="*/ 12191998 w 12191998"/>
                  <a:gd name="connsiteY1" fmla="*/ 0 h 863854"/>
                  <a:gd name="connsiteX2" fmla="*/ 12191998 w 12191998"/>
                  <a:gd name="connsiteY2" fmla="*/ 863854 h 863854"/>
                  <a:gd name="connsiteX3" fmla="*/ 0 w 12191998"/>
                  <a:gd name="connsiteY3" fmla="*/ 863854 h 863854"/>
                  <a:gd name="connsiteX0" fmla="*/ 12191998 w 12191998"/>
                  <a:gd name="connsiteY0" fmla="*/ 0 h 863854"/>
                  <a:gd name="connsiteX1" fmla="*/ 12191998 w 12191998"/>
                  <a:gd name="connsiteY1" fmla="*/ 863854 h 863854"/>
                  <a:gd name="connsiteX2" fmla="*/ 0 w 12191998"/>
                  <a:gd name="connsiteY2" fmla="*/ 863854 h 863854"/>
                  <a:gd name="connsiteX0" fmla="*/ 12191998 w 12191998"/>
                  <a:gd name="connsiteY0" fmla="*/ 0 h 0"/>
                  <a:gd name="connsiteX1" fmla="*/ 0 w 12191998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91998">
                    <a:moveTo>
                      <a:pt x="12191998" y="0"/>
                    </a:moveTo>
                    <a:lnTo>
                      <a:pt x="0" y="0"/>
                    </a:lnTo>
                  </a:path>
                </a:pathLst>
              </a:custGeom>
              <a:noFill/>
              <a:ln w="50800">
                <a:gradFill flip="none" rotWithShape="1">
                  <a:gsLst>
                    <a:gs pos="0">
                      <a:srgbClr val="FFA38B">
                        <a:lumMod val="98000"/>
                      </a:srgbClr>
                    </a:gs>
                    <a:gs pos="35000">
                      <a:srgbClr val="D361FF"/>
                    </a:gs>
                    <a:gs pos="70000">
                      <a:srgbClr val="2CB1FE"/>
                    </a:gs>
                    <a:gs pos="100000">
                      <a:schemeClr val="accent1"/>
                    </a:gs>
                  </a:gsLst>
                  <a:lin ang="10800000" scaled="1"/>
                  <a:tileRect/>
                </a:gra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ans Display"/>
                  <a:ea typeface="+mn-ea"/>
                  <a:cs typeface="Segoe UI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E0D6FFD-74BE-0689-A4E8-56443756FD81}"/>
                </a:ext>
              </a:extLst>
            </p:cNvPr>
            <p:cNvGrpSpPr/>
            <p:nvPr/>
          </p:nvGrpSpPr>
          <p:grpSpPr>
            <a:xfrm>
              <a:off x="1108076" y="1115078"/>
              <a:ext cx="10859860" cy="5127625"/>
              <a:chOff x="1108076" y="1115078"/>
              <a:chExt cx="10859860" cy="5127625"/>
            </a:xfrm>
          </p:grpSpPr>
          <p:sp>
            <p:nvSpPr>
              <p:cNvPr id="8" name="Rectangle: Rounded Corners 50">
                <a:extLst>
                  <a:ext uri="{FF2B5EF4-FFF2-40B4-BE49-F238E27FC236}">
                    <a16:creationId xmlns:a16="http://schemas.microsoft.com/office/drawing/2014/main" id="{2498E230-D47F-98B3-1CD2-AFB7B36BA8A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1108076" y="1115078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9" name="Rectangle: Rounded Corners 50">
                <a:extLst>
                  <a:ext uri="{FF2B5EF4-FFF2-40B4-BE49-F238E27FC236}">
                    <a16:creationId xmlns:a16="http://schemas.microsoft.com/office/drawing/2014/main" id="{D0D79691-558E-8CFC-9C56-F126018BB99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1108076" y="2429312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0" name="Rectangle: Rounded Corners 50">
                <a:extLst>
                  <a:ext uri="{FF2B5EF4-FFF2-40B4-BE49-F238E27FC236}">
                    <a16:creationId xmlns:a16="http://schemas.microsoft.com/office/drawing/2014/main" id="{F3E267A3-1B47-2B1C-D623-5B28304C547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1108076" y="3743546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1" name="Rectangle: Rounded Corners 50">
                <a:extLst>
                  <a:ext uri="{FF2B5EF4-FFF2-40B4-BE49-F238E27FC236}">
                    <a16:creationId xmlns:a16="http://schemas.microsoft.com/office/drawing/2014/main" id="{1AB3C0FE-E1D6-C70E-9A32-0B97FE03590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1108076" y="5057780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2" name="Rectangle: Rounded Corners 50">
                <a:extLst>
                  <a:ext uri="{FF2B5EF4-FFF2-40B4-BE49-F238E27FC236}">
                    <a16:creationId xmlns:a16="http://schemas.microsoft.com/office/drawing/2014/main" id="{42C09979-EADB-E5FC-DE7F-0823C78FD4C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6624412" y="1115078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3" name="Rectangle: Rounded Corners 50">
                <a:extLst>
                  <a:ext uri="{FF2B5EF4-FFF2-40B4-BE49-F238E27FC236}">
                    <a16:creationId xmlns:a16="http://schemas.microsoft.com/office/drawing/2014/main" id="{6EFF7238-43AA-179D-6B1F-B5E795C2748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6624412" y="2429312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4" name="Rectangle: Rounded Corners 50">
                <a:extLst>
                  <a:ext uri="{FF2B5EF4-FFF2-40B4-BE49-F238E27FC236}">
                    <a16:creationId xmlns:a16="http://schemas.microsoft.com/office/drawing/2014/main" id="{CFFF2681-1618-6E39-7F7B-F07D430FB20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6624412" y="3743546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  <p:sp>
            <p:nvSpPr>
              <p:cNvPr id="18" name="Rectangle: Rounded Corners 50">
                <a:extLst>
                  <a:ext uri="{FF2B5EF4-FFF2-40B4-BE49-F238E27FC236}">
                    <a16:creationId xmlns:a16="http://schemas.microsoft.com/office/drawing/2014/main" id="{52D296AB-D6AE-BF63-A280-9D0E55A00A2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 bwMode="auto">
              <a:xfrm>
                <a:off x="6624412" y="5057780"/>
                <a:ext cx="5343524" cy="118492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6350">
                <a:solidFill>
                  <a:schemeClr val="bg1"/>
                </a:solidFill>
                <a:headEnd type="none" w="med" len="med"/>
                <a:tailEnd type="none" w="med" len="med"/>
              </a:ln>
              <a:effectLst>
                <a:outerShdw blurRad="215900" algn="ctr" rotWithShape="0">
                  <a:prstClr val="black">
                    <a:alpha val="13000"/>
                  </a:prst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br>
                  <a: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Sans Display"/>
                    <a:ea typeface="+mn-ea"/>
                    <a:cs typeface="+mn-cs"/>
                  </a:rPr>
                </a:b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Sans Display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6" name="Title 235">
            <a:extLst>
              <a:ext uri="{FF2B5EF4-FFF2-40B4-BE49-F238E27FC236}">
                <a16:creationId xmlns:a16="http://schemas.microsoft.com/office/drawing/2014/main" id="{3B201226-9AEB-8AC9-906A-0F87ACFBE33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 rot="16200000">
            <a:off x="-1608537" y="3846708"/>
            <a:ext cx="4248866" cy="67710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-50" normalizeH="0" baseline="0" noProof="0" dirty="0">
                <a:ln w="3175">
                  <a:noFill/>
                </a:ln>
                <a:gradFill>
                  <a:gsLst>
                    <a:gs pos="2874">
                      <a:schemeClr val="accent1"/>
                    </a:gs>
                    <a:gs pos="71000">
                      <a:schemeClr val="accent4"/>
                    </a:gs>
                    <a:gs pos="100000">
                      <a:schemeClr val="accent2"/>
                    </a:gs>
                  </a:gsLst>
                  <a:lin ang="0" scaled="1"/>
                </a:gradFill>
                <a:effectLst/>
                <a:uLnTx/>
                <a:uFillTx/>
                <a:latin typeface="+mj-lt"/>
                <a:ea typeface="+mj-ea"/>
                <a:cs typeface="+mj-cs"/>
              </a:rPr>
              <a:t>Event schedule</a:t>
            </a:r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B0C54DC6-185D-DDA2-2876-00AC25631569}"/>
              </a:ext>
            </a:extLst>
          </p:cNvPr>
          <p:cNvSpPr txBox="1">
            <a:spLocks/>
          </p:cNvSpPr>
          <p:nvPr/>
        </p:nvSpPr>
        <p:spPr>
          <a:xfrm>
            <a:off x="1489075" y="522744"/>
            <a:ext cx="180656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JUNE 17</a:t>
            </a:r>
            <a:r>
              <a:rPr kumimoji="0" lang="en-US" sz="2800" b="0" i="0" u="none" strike="noStrike" kern="1200" cap="none" spc="80" normalizeH="0" baseline="3000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TH</a:t>
            </a:r>
            <a:endParaRPr kumimoji="0" lang="en-US" sz="2800" b="0" i="0" u="none" strike="noStrike" kern="1200" cap="none" spc="8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Sans Display Semibold"/>
              <a:ea typeface="+mn-ea"/>
              <a:cs typeface="Segoe Sans Display" pitchFamily="2" charset="0"/>
            </a:endParaRP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59D0578A-C466-01CD-AC79-0EC308F3B9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216980" y="1211581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8:30–9:30AM PT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59E79A7E-C65A-AE41-322E-3513DE19E6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2474584" y="1211581"/>
            <a:ext cx="1457336" cy="101566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ecure Microsoft 365 Copilot and agents – Practical steps for addressing oversharing concerns utilizing SAM and Purview</a:t>
            </a:r>
          </a:p>
        </p:txBody>
      </p:sp>
      <p:grpSp>
        <p:nvGrpSpPr>
          <p:cNvPr id="522" name="Group 521" descr="Profile picture">
            <a:extLst>
              <a:ext uri="{FF2B5EF4-FFF2-40B4-BE49-F238E27FC236}">
                <a16:creationId xmlns:a16="http://schemas.microsoft.com/office/drawing/2014/main" id="{130F3C9A-E22E-AC15-952B-26AA0B04E93E}"/>
              </a:ext>
            </a:extLst>
          </p:cNvPr>
          <p:cNvGrpSpPr>
            <a:grpSpLocks/>
          </p:cNvGrpSpPr>
          <p:nvPr/>
        </p:nvGrpSpPr>
        <p:grpSpPr>
          <a:xfrm>
            <a:off x="4188190" y="1179055"/>
            <a:ext cx="482783" cy="482783"/>
            <a:chOff x="14307993" y="1354248"/>
            <a:chExt cx="706582" cy="706582"/>
          </a:xfrm>
        </p:grpSpPr>
        <p:sp>
          <p:nvSpPr>
            <p:cNvPr id="523" name="Oval 522">
              <a:extLst>
                <a:ext uri="{FF2B5EF4-FFF2-40B4-BE49-F238E27FC236}">
                  <a16:creationId xmlns:a16="http://schemas.microsoft.com/office/drawing/2014/main" id="{17629893-581D-070F-BE0F-B2919943B7B4}"/>
                </a:ext>
              </a:extLst>
            </p:cNvPr>
            <p:cNvSpPr/>
            <p:nvPr/>
          </p:nvSpPr>
          <p:spPr>
            <a:xfrm>
              <a:off x="14307993" y="1354248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524" name="Picture 523" descr="A person smiling for a picture&#10;&#10;AI-generated content may be incorrect.">
              <a:extLst>
                <a:ext uri="{FF2B5EF4-FFF2-40B4-BE49-F238E27FC236}">
                  <a16:creationId xmlns:a16="http://schemas.microsoft.com/office/drawing/2014/main" id="{8EF19D6C-FB19-EAE0-EAC8-E3C7D570D5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09" t="5147" r="22006" b="46167"/>
            <a:stretch/>
          </p:blipFill>
          <p:spPr>
            <a:xfrm>
              <a:off x="14344827" y="1391082"/>
              <a:ext cx="632914" cy="632914"/>
            </a:xfrm>
            <a:prstGeom prst="ellipse">
              <a:avLst/>
            </a:prstGeom>
          </p:spPr>
        </p:pic>
      </p:grpSp>
      <p:sp>
        <p:nvSpPr>
          <p:cNvPr id="587" name="TextBox 586">
            <a:extLst>
              <a:ext uri="{FF2B5EF4-FFF2-40B4-BE49-F238E27FC236}">
                <a16:creationId xmlns:a16="http://schemas.microsoft.com/office/drawing/2014/main" id="{718D9BB8-712E-AD4B-11D0-FCC5F8E62FA6}"/>
              </a:ext>
            </a:extLst>
          </p:cNvPr>
          <p:cNvSpPr txBox="1">
            <a:spLocks/>
          </p:cNvSpPr>
          <p:nvPr/>
        </p:nvSpPr>
        <p:spPr>
          <a:xfrm>
            <a:off x="4810378" y="1242192"/>
            <a:ext cx="1215365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Sophie K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r. Product Manager</a:t>
            </a:r>
          </a:p>
        </p:txBody>
      </p:sp>
      <p:grpSp>
        <p:nvGrpSpPr>
          <p:cNvPr id="667" name="Group 666" descr="Profile picture">
            <a:extLst>
              <a:ext uri="{FF2B5EF4-FFF2-40B4-BE49-F238E27FC236}">
                <a16:creationId xmlns:a16="http://schemas.microsoft.com/office/drawing/2014/main" id="{99D64208-A231-46F8-295D-26DB54ED8AF5}"/>
              </a:ext>
            </a:extLst>
          </p:cNvPr>
          <p:cNvGrpSpPr/>
          <p:nvPr/>
        </p:nvGrpSpPr>
        <p:grpSpPr>
          <a:xfrm>
            <a:off x="4188190" y="1760355"/>
            <a:ext cx="482783" cy="482783"/>
            <a:chOff x="16451118" y="1354248"/>
            <a:chExt cx="706582" cy="706582"/>
          </a:xfrm>
        </p:grpSpPr>
        <p:sp>
          <p:nvSpPr>
            <p:cNvPr id="668" name="Oval 667">
              <a:extLst>
                <a:ext uri="{FF2B5EF4-FFF2-40B4-BE49-F238E27FC236}">
                  <a16:creationId xmlns:a16="http://schemas.microsoft.com/office/drawing/2014/main" id="{CAF60BF8-F7BF-634E-0442-B95B72032D4A}"/>
                </a:ext>
              </a:extLst>
            </p:cNvPr>
            <p:cNvSpPr/>
            <p:nvPr/>
          </p:nvSpPr>
          <p:spPr>
            <a:xfrm>
              <a:off x="16451118" y="1354248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669" name="Picture 668" descr="A person in a black shirt&#10;&#10;AI-generated content may be incorrect.">
              <a:extLst>
                <a:ext uri="{FF2B5EF4-FFF2-40B4-BE49-F238E27FC236}">
                  <a16:creationId xmlns:a16="http://schemas.microsoft.com/office/drawing/2014/main" id="{BAABE294-D996-8592-80A5-8C55FF2D0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29" t="1168" r="29044" b="40705"/>
            <a:stretch/>
          </p:blipFill>
          <p:spPr>
            <a:xfrm>
              <a:off x="16487952" y="1391082"/>
              <a:ext cx="632914" cy="632914"/>
            </a:xfrm>
            <a:prstGeom prst="ellipse">
              <a:avLst/>
            </a:prstGeom>
          </p:spPr>
        </p:pic>
      </p:grpSp>
      <p:sp>
        <p:nvSpPr>
          <p:cNvPr id="714" name="TextBox 713">
            <a:extLst>
              <a:ext uri="{FF2B5EF4-FFF2-40B4-BE49-F238E27FC236}">
                <a16:creationId xmlns:a16="http://schemas.microsoft.com/office/drawing/2014/main" id="{71EE260C-0EB8-95BA-2EEA-03A7569278E0}"/>
              </a:ext>
            </a:extLst>
          </p:cNvPr>
          <p:cNvSpPr txBox="1">
            <a:spLocks/>
          </p:cNvSpPr>
          <p:nvPr/>
        </p:nvSpPr>
        <p:spPr>
          <a:xfrm>
            <a:off x="4810378" y="1823492"/>
            <a:ext cx="99370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Dave Minasy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incipal PM</a:t>
            </a:r>
          </a:p>
        </p:txBody>
      </p:sp>
      <p:sp>
        <p:nvSpPr>
          <p:cNvPr id="768" name="TextBox 767">
            <a:extLst>
              <a:ext uri="{FF2B5EF4-FFF2-40B4-BE49-F238E27FC236}">
                <a16:creationId xmlns:a16="http://schemas.microsoft.com/office/drawing/2014/main" id="{57AB02C3-E96E-A73F-3A89-F7EBB4D5A11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216980" y="2526718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9:30–10:30AM PT </a:t>
            </a:r>
          </a:p>
        </p:txBody>
      </p:sp>
      <p:sp>
        <p:nvSpPr>
          <p:cNvPr id="829" name="TextBox 828">
            <a:extLst>
              <a:ext uri="{FF2B5EF4-FFF2-40B4-BE49-F238E27FC236}">
                <a16:creationId xmlns:a16="http://schemas.microsoft.com/office/drawing/2014/main" id="{AB8C5240-A12E-8ECC-6081-489427E31E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2474584" y="2695092"/>
            <a:ext cx="1457336" cy="67710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event data loss and insider risks for Microsoft 365 Copilot with Microsoft Purview</a:t>
            </a:r>
          </a:p>
        </p:txBody>
      </p:sp>
      <p:grpSp>
        <p:nvGrpSpPr>
          <p:cNvPr id="898" name="Group 897" descr="Profile picture">
            <a:extLst>
              <a:ext uri="{FF2B5EF4-FFF2-40B4-BE49-F238E27FC236}">
                <a16:creationId xmlns:a16="http://schemas.microsoft.com/office/drawing/2014/main" id="{AE0316C3-53A1-540E-0083-3C446B3B6B1E}"/>
              </a:ext>
            </a:extLst>
          </p:cNvPr>
          <p:cNvGrpSpPr>
            <a:grpSpLocks/>
          </p:cNvGrpSpPr>
          <p:nvPr/>
        </p:nvGrpSpPr>
        <p:grpSpPr>
          <a:xfrm>
            <a:off x="4188190" y="2496230"/>
            <a:ext cx="482783" cy="482783"/>
            <a:chOff x="14307993" y="2668482"/>
            <a:chExt cx="706582" cy="706582"/>
          </a:xfrm>
        </p:grpSpPr>
        <p:sp>
          <p:nvSpPr>
            <p:cNvPr id="899" name="Oval 898">
              <a:extLst>
                <a:ext uri="{FF2B5EF4-FFF2-40B4-BE49-F238E27FC236}">
                  <a16:creationId xmlns:a16="http://schemas.microsoft.com/office/drawing/2014/main" id="{3B79BBFC-3D41-1019-F870-27A7081E55A1}"/>
                </a:ext>
              </a:extLst>
            </p:cNvPr>
            <p:cNvSpPr/>
            <p:nvPr/>
          </p:nvSpPr>
          <p:spPr>
            <a:xfrm>
              <a:off x="14307993" y="2668482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900" name="Picture 899" descr="A person with dark hair wearing a white shirt&#10;&#10;AI-generated content may be incorrect.">
              <a:extLst>
                <a:ext uri="{FF2B5EF4-FFF2-40B4-BE49-F238E27FC236}">
                  <a16:creationId xmlns:a16="http://schemas.microsoft.com/office/drawing/2014/main" id="{FEE785A6-7531-5CA1-90D7-750095A208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07" t="4454" r="19185" b="36338"/>
            <a:stretch/>
          </p:blipFill>
          <p:spPr>
            <a:xfrm>
              <a:off x="14344827" y="2705316"/>
              <a:ext cx="632914" cy="632914"/>
            </a:xfrm>
            <a:prstGeom prst="ellipse">
              <a:avLst/>
            </a:prstGeom>
          </p:spPr>
        </p:pic>
      </p:grpSp>
      <p:sp>
        <p:nvSpPr>
          <p:cNvPr id="958" name="TextBox 957">
            <a:extLst>
              <a:ext uri="{FF2B5EF4-FFF2-40B4-BE49-F238E27FC236}">
                <a16:creationId xmlns:a16="http://schemas.microsoft.com/office/drawing/2014/main" id="{C493A073-63E1-163C-CB5F-9FA7F5EEC09B}"/>
              </a:ext>
            </a:extLst>
          </p:cNvPr>
          <p:cNvSpPr txBox="1">
            <a:spLocks/>
          </p:cNvSpPr>
          <p:nvPr/>
        </p:nvSpPr>
        <p:spPr>
          <a:xfrm>
            <a:off x="4810378" y="2476752"/>
            <a:ext cx="1304672" cy="5180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Erica Toe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r. Product Marketing Manager</a:t>
            </a:r>
          </a:p>
        </p:txBody>
      </p:sp>
      <p:grpSp>
        <p:nvGrpSpPr>
          <p:cNvPr id="1009" name="Group 1008" descr="Profile picture">
            <a:extLst>
              <a:ext uri="{FF2B5EF4-FFF2-40B4-BE49-F238E27FC236}">
                <a16:creationId xmlns:a16="http://schemas.microsoft.com/office/drawing/2014/main" id="{ABE25BB2-C4ED-FBC0-F0F0-61A4DF94F3A4}"/>
              </a:ext>
            </a:extLst>
          </p:cNvPr>
          <p:cNvGrpSpPr>
            <a:grpSpLocks/>
          </p:cNvGrpSpPr>
          <p:nvPr/>
        </p:nvGrpSpPr>
        <p:grpSpPr>
          <a:xfrm>
            <a:off x="4188190" y="3064534"/>
            <a:ext cx="482783" cy="482783"/>
            <a:chOff x="16451118" y="2668482"/>
            <a:chExt cx="706582" cy="706582"/>
          </a:xfrm>
        </p:grpSpPr>
        <p:sp>
          <p:nvSpPr>
            <p:cNvPr id="1010" name="Oval 1009">
              <a:extLst>
                <a:ext uri="{FF2B5EF4-FFF2-40B4-BE49-F238E27FC236}">
                  <a16:creationId xmlns:a16="http://schemas.microsoft.com/office/drawing/2014/main" id="{F3EFECC6-E43E-DFFC-5C03-2E03869642AE}"/>
                </a:ext>
              </a:extLst>
            </p:cNvPr>
            <p:cNvSpPr/>
            <p:nvPr/>
          </p:nvSpPr>
          <p:spPr>
            <a:xfrm>
              <a:off x="16451118" y="2668482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011" name="Picture 1010" descr="A close-up of a person smiling&#10;&#10;AI-generated content may be incorrect.">
              <a:extLst>
                <a:ext uri="{FF2B5EF4-FFF2-40B4-BE49-F238E27FC236}">
                  <a16:creationId xmlns:a16="http://schemas.microsoft.com/office/drawing/2014/main" id="{61C92E4A-43C7-ED1B-D605-6A5752EDBB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36" r="-654" b="7683"/>
            <a:stretch/>
          </p:blipFill>
          <p:spPr>
            <a:xfrm>
              <a:off x="16487952" y="2705316"/>
              <a:ext cx="632914" cy="632914"/>
            </a:xfrm>
            <a:prstGeom prst="ellipse">
              <a:avLst/>
            </a:prstGeom>
          </p:spPr>
        </p:pic>
      </p:grpSp>
      <p:sp>
        <p:nvSpPr>
          <p:cNvPr id="1062" name="TextBox 1061">
            <a:extLst>
              <a:ext uri="{FF2B5EF4-FFF2-40B4-BE49-F238E27FC236}">
                <a16:creationId xmlns:a16="http://schemas.microsoft.com/office/drawing/2014/main" id="{2D5482A7-9493-38A3-2987-821B827208E7}"/>
              </a:ext>
            </a:extLst>
          </p:cNvPr>
          <p:cNvSpPr txBox="1">
            <a:spLocks/>
          </p:cNvSpPr>
          <p:nvPr/>
        </p:nvSpPr>
        <p:spPr>
          <a:xfrm>
            <a:off x="4810378" y="3127671"/>
            <a:ext cx="1284035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Jeremy Chapm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irector, PMM</a:t>
            </a:r>
          </a:p>
        </p:txBody>
      </p:sp>
      <p:sp>
        <p:nvSpPr>
          <p:cNvPr id="1099" name="TextBox 1098">
            <a:extLst>
              <a:ext uri="{FF2B5EF4-FFF2-40B4-BE49-F238E27FC236}">
                <a16:creationId xmlns:a16="http://schemas.microsoft.com/office/drawing/2014/main" id="{015F73C7-FA64-1530-36B7-CC283C22BBA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216980" y="3841855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 10:30–11:00AM PT</a:t>
            </a:r>
          </a:p>
        </p:txBody>
      </p:sp>
      <p:sp>
        <p:nvSpPr>
          <p:cNvPr id="1149" name="TextBox 1148">
            <a:extLst>
              <a:ext uri="{FF2B5EF4-FFF2-40B4-BE49-F238E27FC236}">
                <a16:creationId xmlns:a16="http://schemas.microsoft.com/office/drawing/2014/main" id="{1B0DA9E8-D0C5-E377-29CB-4885609E24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2474585" y="4093965"/>
            <a:ext cx="1457335" cy="5078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Understanding web search controls in Microsoft 365 Copilot</a:t>
            </a:r>
          </a:p>
        </p:txBody>
      </p:sp>
      <p:grpSp>
        <p:nvGrpSpPr>
          <p:cNvPr id="1198" name="Group 1197" descr="Profile picture">
            <a:extLst>
              <a:ext uri="{FF2B5EF4-FFF2-40B4-BE49-F238E27FC236}">
                <a16:creationId xmlns:a16="http://schemas.microsoft.com/office/drawing/2014/main" id="{8B67CB13-E929-5F0C-6D8E-72966704F533}"/>
              </a:ext>
            </a:extLst>
          </p:cNvPr>
          <p:cNvGrpSpPr>
            <a:grpSpLocks/>
          </p:cNvGrpSpPr>
          <p:nvPr/>
        </p:nvGrpSpPr>
        <p:grpSpPr>
          <a:xfrm>
            <a:off x="4188190" y="3820792"/>
            <a:ext cx="482783" cy="482783"/>
            <a:chOff x="14307993" y="3982716"/>
            <a:chExt cx="706582" cy="706582"/>
          </a:xfrm>
        </p:grpSpPr>
        <p:sp>
          <p:nvSpPr>
            <p:cNvPr id="1199" name="Oval 1198">
              <a:extLst>
                <a:ext uri="{FF2B5EF4-FFF2-40B4-BE49-F238E27FC236}">
                  <a16:creationId xmlns:a16="http://schemas.microsoft.com/office/drawing/2014/main" id="{FA975CD5-5854-383F-14D8-9BEC1515E571}"/>
                </a:ext>
              </a:extLst>
            </p:cNvPr>
            <p:cNvSpPr/>
            <p:nvPr/>
          </p:nvSpPr>
          <p:spPr>
            <a:xfrm>
              <a:off x="14307993" y="3982716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200" name="Picture 1199">
              <a:extLst>
                <a:ext uri="{FF2B5EF4-FFF2-40B4-BE49-F238E27FC236}">
                  <a16:creationId xmlns:a16="http://schemas.microsoft.com/office/drawing/2014/main" id="{7F0D2E78-77F5-7B15-E0AA-D71A35A407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71" t="1" r="4864" b="8534"/>
            <a:stretch/>
          </p:blipFill>
          <p:spPr>
            <a:xfrm>
              <a:off x="14344827" y="4019550"/>
              <a:ext cx="632914" cy="632914"/>
            </a:xfrm>
            <a:prstGeom prst="ellipse">
              <a:avLst/>
            </a:prstGeom>
          </p:spPr>
        </p:pic>
      </p:grpSp>
      <p:sp>
        <p:nvSpPr>
          <p:cNvPr id="1251" name="TextBox 1250">
            <a:extLst>
              <a:ext uri="{FF2B5EF4-FFF2-40B4-BE49-F238E27FC236}">
                <a16:creationId xmlns:a16="http://schemas.microsoft.com/office/drawing/2014/main" id="{2FEA122A-0A38-CBA9-36DA-CC9CFB400F3A}"/>
              </a:ext>
            </a:extLst>
          </p:cNvPr>
          <p:cNvSpPr txBox="1">
            <a:spLocks/>
          </p:cNvSpPr>
          <p:nvPr/>
        </p:nvSpPr>
        <p:spPr>
          <a:xfrm>
            <a:off x="4810377" y="3883929"/>
            <a:ext cx="99370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Alex Poz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irector of PMM</a:t>
            </a:r>
          </a:p>
        </p:txBody>
      </p:sp>
      <p:grpSp>
        <p:nvGrpSpPr>
          <p:cNvPr id="1292" name="Group 1291" descr="Profile picture">
            <a:extLst>
              <a:ext uri="{FF2B5EF4-FFF2-40B4-BE49-F238E27FC236}">
                <a16:creationId xmlns:a16="http://schemas.microsoft.com/office/drawing/2014/main" id="{A89835E6-27F0-EFF8-97EF-AB9115811882}"/>
              </a:ext>
            </a:extLst>
          </p:cNvPr>
          <p:cNvGrpSpPr>
            <a:grpSpLocks/>
          </p:cNvGrpSpPr>
          <p:nvPr/>
        </p:nvGrpSpPr>
        <p:grpSpPr>
          <a:xfrm>
            <a:off x="4188190" y="4370320"/>
            <a:ext cx="482783" cy="482783"/>
            <a:chOff x="16451118" y="3982716"/>
            <a:chExt cx="706582" cy="706582"/>
          </a:xfrm>
        </p:grpSpPr>
        <p:sp>
          <p:nvSpPr>
            <p:cNvPr id="1293" name="Oval 1292">
              <a:extLst>
                <a:ext uri="{FF2B5EF4-FFF2-40B4-BE49-F238E27FC236}">
                  <a16:creationId xmlns:a16="http://schemas.microsoft.com/office/drawing/2014/main" id="{F92D4985-A8DF-9091-5D1C-B7BC2F23CB1A}"/>
                </a:ext>
              </a:extLst>
            </p:cNvPr>
            <p:cNvSpPr/>
            <p:nvPr/>
          </p:nvSpPr>
          <p:spPr>
            <a:xfrm>
              <a:off x="16451118" y="3982716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294" name="Picture 1293" descr="A person smiling for a picture&#10;&#10;AI-generated content may be incorrect.">
              <a:extLst>
                <a:ext uri="{FF2B5EF4-FFF2-40B4-BE49-F238E27FC236}">
                  <a16:creationId xmlns:a16="http://schemas.microsoft.com/office/drawing/2014/main" id="{B7A416C4-2CD9-D5B2-8954-23ADABFD5C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38" r="16004" b="30042"/>
            <a:stretch/>
          </p:blipFill>
          <p:spPr>
            <a:xfrm>
              <a:off x="16487952" y="4019550"/>
              <a:ext cx="632914" cy="632914"/>
            </a:xfrm>
            <a:prstGeom prst="ellipse">
              <a:avLst/>
            </a:prstGeom>
          </p:spPr>
        </p:pic>
      </p:grpSp>
      <p:sp>
        <p:nvSpPr>
          <p:cNvPr id="1335" name="TextBox 1334">
            <a:extLst>
              <a:ext uri="{FF2B5EF4-FFF2-40B4-BE49-F238E27FC236}">
                <a16:creationId xmlns:a16="http://schemas.microsoft.com/office/drawing/2014/main" id="{78BF0B96-4BB2-B7B6-4E9B-603A08542EB6}"/>
              </a:ext>
            </a:extLst>
          </p:cNvPr>
          <p:cNvSpPr txBox="1">
            <a:spLocks/>
          </p:cNvSpPr>
          <p:nvPr/>
        </p:nvSpPr>
        <p:spPr>
          <a:xfrm>
            <a:off x="4810377" y="4358428"/>
            <a:ext cx="1280861" cy="5180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Suhel Parek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incipal Product Manager</a:t>
            </a:r>
          </a:p>
        </p:txBody>
      </p:sp>
      <p:sp>
        <p:nvSpPr>
          <p:cNvPr id="1370" name="TextBox 1369">
            <a:extLst>
              <a:ext uri="{FF2B5EF4-FFF2-40B4-BE49-F238E27FC236}">
                <a16:creationId xmlns:a16="http://schemas.microsoft.com/office/drawing/2014/main" id="{06190094-84DD-B10C-09A1-49494327778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1216980" y="5156993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11:00AM–12:00PM PT</a:t>
            </a:r>
          </a:p>
        </p:txBody>
      </p:sp>
      <p:sp>
        <p:nvSpPr>
          <p:cNvPr id="1409" name="TextBox 1408">
            <a:extLst>
              <a:ext uri="{FF2B5EF4-FFF2-40B4-BE49-F238E27FC236}">
                <a16:creationId xmlns:a16="http://schemas.microsoft.com/office/drawing/2014/main" id="{4150441F-0C34-25F1-186C-DD601E518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2474585" y="5480964"/>
            <a:ext cx="1457335" cy="338554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Build enterprise-scale agents securely</a:t>
            </a:r>
          </a:p>
        </p:txBody>
      </p:sp>
      <p:grpSp>
        <p:nvGrpSpPr>
          <p:cNvPr id="1447" name="Group 1446" descr="Profile picture">
            <a:extLst>
              <a:ext uri="{FF2B5EF4-FFF2-40B4-BE49-F238E27FC236}">
                <a16:creationId xmlns:a16="http://schemas.microsoft.com/office/drawing/2014/main" id="{6804C349-16C3-5317-2E32-B3F3C02654A7}"/>
              </a:ext>
            </a:extLst>
          </p:cNvPr>
          <p:cNvGrpSpPr>
            <a:grpSpLocks/>
          </p:cNvGrpSpPr>
          <p:nvPr/>
        </p:nvGrpSpPr>
        <p:grpSpPr>
          <a:xfrm>
            <a:off x="4188190" y="5408850"/>
            <a:ext cx="482783" cy="482783"/>
            <a:chOff x="14307993" y="5296950"/>
            <a:chExt cx="706582" cy="706582"/>
          </a:xfrm>
        </p:grpSpPr>
        <p:sp>
          <p:nvSpPr>
            <p:cNvPr id="1448" name="Oval 1447">
              <a:extLst>
                <a:ext uri="{FF2B5EF4-FFF2-40B4-BE49-F238E27FC236}">
                  <a16:creationId xmlns:a16="http://schemas.microsoft.com/office/drawing/2014/main" id="{23947000-E659-C22E-4A43-7FCDF7C45132}"/>
                </a:ext>
              </a:extLst>
            </p:cNvPr>
            <p:cNvSpPr/>
            <p:nvPr/>
          </p:nvSpPr>
          <p:spPr>
            <a:xfrm>
              <a:off x="14307993" y="5296950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449" name="Picture 1448" descr="A person wearing glasses smiling&#10;&#10;AI-generated content may be incorrect.">
              <a:extLst>
                <a:ext uri="{FF2B5EF4-FFF2-40B4-BE49-F238E27FC236}">
                  <a16:creationId xmlns:a16="http://schemas.microsoft.com/office/drawing/2014/main" id="{3EA7A532-76A7-AB17-1097-82F68CD69D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344827" y="5333784"/>
              <a:ext cx="632914" cy="632914"/>
            </a:xfrm>
            <a:prstGeom prst="ellipse">
              <a:avLst/>
            </a:prstGeom>
          </p:spPr>
        </p:pic>
      </p:grpSp>
      <p:sp>
        <p:nvSpPr>
          <p:cNvPr id="1484" name="TextBox 1483">
            <a:extLst>
              <a:ext uri="{FF2B5EF4-FFF2-40B4-BE49-F238E27FC236}">
                <a16:creationId xmlns:a16="http://schemas.microsoft.com/office/drawing/2014/main" id="{34BA08A9-7AC8-DF88-4ECF-DF02043EF25D}"/>
              </a:ext>
            </a:extLst>
          </p:cNvPr>
          <p:cNvSpPr txBox="1">
            <a:spLocks/>
          </p:cNvSpPr>
          <p:nvPr/>
        </p:nvSpPr>
        <p:spPr>
          <a:xfrm>
            <a:off x="4810377" y="5471987"/>
            <a:ext cx="99370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Mik Fer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incipal PM</a:t>
            </a:r>
          </a:p>
        </p:txBody>
      </p:sp>
      <p:sp>
        <p:nvSpPr>
          <p:cNvPr id="1518" name="Text Placeholder 2">
            <a:extLst>
              <a:ext uri="{FF2B5EF4-FFF2-40B4-BE49-F238E27FC236}">
                <a16:creationId xmlns:a16="http://schemas.microsoft.com/office/drawing/2014/main" id="{33349EFD-699F-134A-318E-098BD67BE740}"/>
              </a:ext>
            </a:extLst>
          </p:cNvPr>
          <p:cNvSpPr txBox="1">
            <a:spLocks/>
          </p:cNvSpPr>
          <p:nvPr/>
        </p:nvSpPr>
        <p:spPr>
          <a:xfrm>
            <a:off x="7005411" y="522744"/>
            <a:ext cx="180656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JUNE 18</a:t>
            </a:r>
            <a:r>
              <a:rPr kumimoji="0" lang="en-US" sz="2800" b="0" i="0" u="none" strike="noStrike" kern="1200" cap="none" spc="80" normalizeH="0" baseline="30000" noProof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TH</a:t>
            </a:r>
            <a:endParaRPr kumimoji="0" lang="en-US" sz="2800" b="0" i="0" u="none" strike="noStrike" kern="1200" cap="none" spc="80" normalizeH="0" baseline="0" noProof="0">
              <a:ln>
                <a:noFill/>
              </a:ln>
              <a:solidFill>
                <a:srgbClr val="0078D4"/>
              </a:solidFill>
              <a:effectLst/>
              <a:uLnTx/>
              <a:uFillTx/>
              <a:latin typeface="Segoe Sans Display Semibold"/>
              <a:ea typeface="+mn-ea"/>
              <a:cs typeface="Segoe Sans Display" pitchFamily="2" charset="0"/>
            </a:endParaRPr>
          </a:p>
        </p:txBody>
      </p:sp>
      <p:sp>
        <p:nvSpPr>
          <p:cNvPr id="1575" name="TextBox 1574">
            <a:extLst>
              <a:ext uri="{FF2B5EF4-FFF2-40B4-BE49-F238E27FC236}">
                <a16:creationId xmlns:a16="http://schemas.microsoft.com/office/drawing/2014/main" id="{DBF560B6-FBAE-DADA-ECCE-A04214C460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733316" y="1211581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8:00–9:00AM PT</a:t>
            </a:r>
          </a:p>
        </p:txBody>
      </p:sp>
      <p:sp>
        <p:nvSpPr>
          <p:cNvPr id="1608" name="TextBox 1607">
            <a:extLst>
              <a:ext uri="{FF2B5EF4-FFF2-40B4-BE49-F238E27FC236}">
                <a16:creationId xmlns:a16="http://schemas.microsoft.com/office/drawing/2014/main" id="{60F3D090-7383-8BBA-2F67-EFFDC73CC5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7990920" y="1465497"/>
            <a:ext cx="1457336" cy="5078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Copilot agent management and controls</a:t>
            </a:r>
          </a:p>
        </p:txBody>
      </p:sp>
      <p:grpSp>
        <p:nvGrpSpPr>
          <p:cNvPr id="1616" name="Group 1615" descr="Profile picture">
            <a:extLst>
              <a:ext uri="{FF2B5EF4-FFF2-40B4-BE49-F238E27FC236}">
                <a16:creationId xmlns:a16="http://schemas.microsoft.com/office/drawing/2014/main" id="{6B05B942-2E38-DBA8-3243-F2F47A050287}"/>
              </a:ext>
            </a:extLst>
          </p:cNvPr>
          <p:cNvGrpSpPr>
            <a:grpSpLocks/>
          </p:cNvGrpSpPr>
          <p:nvPr/>
        </p:nvGrpSpPr>
        <p:grpSpPr>
          <a:xfrm>
            <a:off x="9704527" y="1179056"/>
            <a:ext cx="482783" cy="482783"/>
            <a:chOff x="18165962" y="1234247"/>
            <a:chExt cx="706582" cy="706582"/>
          </a:xfrm>
        </p:grpSpPr>
        <p:sp>
          <p:nvSpPr>
            <p:cNvPr id="1617" name="Oval 1616">
              <a:extLst>
                <a:ext uri="{FF2B5EF4-FFF2-40B4-BE49-F238E27FC236}">
                  <a16:creationId xmlns:a16="http://schemas.microsoft.com/office/drawing/2014/main" id="{4622D155-3045-88A6-BDB5-EAEF4A20A4B6}"/>
                </a:ext>
              </a:extLst>
            </p:cNvPr>
            <p:cNvSpPr/>
            <p:nvPr/>
          </p:nvSpPr>
          <p:spPr>
            <a:xfrm>
              <a:off x="18165962" y="1234247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618" name="Picture 1617" descr="A person in a suit smiling&#10;&#10;AI-generated content may be incorrect.">
              <a:extLst>
                <a:ext uri="{FF2B5EF4-FFF2-40B4-BE49-F238E27FC236}">
                  <a16:creationId xmlns:a16="http://schemas.microsoft.com/office/drawing/2014/main" id="{C8FCAEFD-5CBE-9F1E-8238-2610262F4A60}"/>
                </a:ext>
              </a:extLst>
            </p:cNvPr>
            <p:cNvPicPr>
              <a:picLocks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13" t="3633" r="7823" b="16803"/>
            <a:stretch/>
          </p:blipFill>
          <p:spPr>
            <a:xfrm>
              <a:off x="18202796" y="1271081"/>
              <a:ext cx="632914" cy="632914"/>
            </a:xfrm>
            <a:prstGeom prst="ellipse">
              <a:avLst/>
            </a:prstGeom>
          </p:spPr>
        </p:pic>
      </p:grpSp>
      <p:sp>
        <p:nvSpPr>
          <p:cNvPr id="1644" name="TextBox 1643">
            <a:extLst>
              <a:ext uri="{FF2B5EF4-FFF2-40B4-BE49-F238E27FC236}">
                <a16:creationId xmlns:a16="http://schemas.microsoft.com/office/drawing/2014/main" id="{21649516-C35B-0109-07E3-3ACEF56B5D82}"/>
              </a:ext>
            </a:extLst>
          </p:cNvPr>
          <p:cNvSpPr txBox="1">
            <a:spLocks/>
          </p:cNvSpPr>
          <p:nvPr/>
        </p:nvSpPr>
        <p:spPr>
          <a:xfrm>
            <a:off x="10326714" y="1242193"/>
            <a:ext cx="1215365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James Be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irector, PMM, CCS</a:t>
            </a:r>
          </a:p>
        </p:txBody>
      </p:sp>
      <p:grpSp>
        <p:nvGrpSpPr>
          <p:cNvPr id="1681" name="Group 1680" descr="Profile picture">
            <a:extLst>
              <a:ext uri="{FF2B5EF4-FFF2-40B4-BE49-F238E27FC236}">
                <a16:creationId xmlns:a16="http://schemas.microsoft.com/office/drawing/2014/main" id="{A87465CB-E820-46E0-5169-12677A1461F3}"/>
              </a:ext>
            </a:extLst>
          </p:cNvPr>
          <p:cNvGrpSpPr>
            <a:grpSpLocks/>
          </p:cNvGrpSpPr>
          <p:nvPr/>
        </p:nvGrpSpPr>
        <p:grpSpPr>
          <a:xfrm>
            <a:off x="9704527" y="1760356"/>
            <a:ext cx="482783" cy="482783"/>
            <a:chOff x="20309087" y="1234247"/>
            <a:chExt cx="706582" cy="706582"/>
          </a:xfrm>
        </p:grpSpPr>
        <p:sp>
          <p:nvSpPr>
            <p:cNvPr id="1682" name="Oval 1681">
              <a:extLst>
                <a:ext uri="{FF2B5EF4-FFF2-40B4-BE49-F238E27FC236}">
                  <a16:creationId xmlns:a16="http://schemas.microsoft.com/office/drawing/2014/main" id="{5FBF1CA7-880E-CD22-7C5C-052F2C08F6E7}"/>
                </a:ext>
              </a:extLst>
            </p:cNvPr>
            <p:cNvSpPr/>
            <p:nvPr/>
          </p:nvSpPr>
          <p:spPr>
            <a:xfrm>
              <a:off x="20309087" y="1234247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683" name="Picture 1682" descr="A person taking a selfie&#10;&#10;AI-generated content may be incorrect.">
              <a:extLst>
                <a:ext uri="{FF2B5EF4-FFF2-40B4-BE49-F238E27FC236}">
                  <a16:creationId xmlns:a16="http://schemas.microsoft.com/office/drawing/2014/main" id="{FDAF31FF-FA59-2CE4-1521-E005920015FE}"/>
                </a:ext>
              </a:extLst>
            </p:cNvPr>
            <p:cNvPicPr>
              <a:picLocks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84" t="3574" r="12584" b="21594"/>
            <a:stretch/>
          </p:blipFill>
          <p:spPr>
            <a:xfrm>
              <a:off x="20345921" y="1271081"/>
              <a:ext cx="632914" cy="632914"/>
            </a:xfrm>
            <a:prstGeom prst="ellipse">
              <a:avLst/>
            </a:prstGeom>
          </p:spPr>
        </p:pic>
      </p:grpSp>
      <p:sp>
        <p:nvSpPr>
          <p:cNvPr id="1697" name="TextBox 1696">
            <a:extLst>
              <a:ext uri="{FF2B5EF4-FFF2-40B4-BE49-F238E27FC236}">
                <a16:creationId xmlns:a16="http://schemas.microsoft.com/office/drawing/2014/main" id="{677680CA-DE4C-BB91-C8C5-D07A0EE527F8}"/>
              </a:ext>
            </a:extLst>
          </p:cNvPr>
          <p:cNvSpPr txBox="1">
            <a:spLocks/>
          </p:cNvSpPr>
          <p:nvPr/>
        </p:nvSpPr>
        <p:spPr>
          <a:xfrm>
            <a:off x="10326715" y="1823493"/>
            <a:ext cx="1476665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Ganesh Krishnamurt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incipal PM Manager</a:t>
            </a:r>
          </a:p>
        </p:txBody>
      </p:sp>
      <p:sp>
        <p:nvSpPr>
          <p:cNvPr id="1736" name="TextBox 1735">
            <a:extLst>
              <a:ext uri="{FF2B5EF4-FFF2-40B4-BE49-F238E27FC236}">
                <a16:creationId xmlns:a16="http://schemas.microsoft.com/office/drawing/2014/main" id="{046A07C7-0522-98A8-E277-60FFD67DC2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733316" y="2526718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9:00–10:00AM PT </a:t>
            </a:r>
          </a:p>
        </p:txBody>
      </p:sp>
      <p:sp>
        <p:nvSpPr>
          <p:cNvPr id="1758" name="TextBox 1757">
            <a:extLst>
              <a:ext uri="{FF2B5EF4-FFF2-40B4-BE49-F238E27FC236}">
                <a16:creationId xmlns:a16="http://schemas.microsoft.com/office/drawing/2014/main" id="{48FB5AF3-6580-E218-A665-A8FC5C7380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7990920" y="2695092"/>
            <a:ext cx="1457336" cy="677108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Empower Copilot Studio makers with enterprise-grade management controls</a:t>
            </a:r>
          </a:p>
        </p:txBody>
      </p:sp>
      <p:grpSp>
        <p:nvGrpSpPr>
          <p:cNvPr id="1775" name="Group 1774" descr="Profile picture">
            <a:extLst>
              <a:ext uri="{FF2B5EF4-FFF2-40B4-BE49-F238E27FC236}">
                <a16:creationId xmlns:a16="http://schemas.microsoft.com/office/drawing/2014/main" id="{01838CB5-207A-A86F-9135-9899FD5E6A29}"/>
              </a:ext>
            </a:extLst>
          </p:cNvPr>
          <p:cNvGrpSpPr>
            <a:grpSpLocks/>
          </p:cNvGrpSpPr>
          <p:nvPr/>
        </p:nvGrpSpPr>
        <p:grpSpPr>
          <a:xfrm>
            <a:off x="9704527" y="2780382"/>
            <a:ext cx="482783" cy="482783"/>
            <a:chOff x="18165962" y="2548481"/>
            <a:chExt cx="706582" cy="706582"/>
          </a:xfrm>
        </p:grpSpPr>
        <p:sp>
          <p:nvSpPr>
            <p:cNvPr id="1776" name="Oval 1775">
              <a:extLst>
                <a:ext uri="{FF2B5EF4-FFF2-40B4-BE49-F238E27FC236}">
                  <a16:creationId xmlns:a16="http://schemas.microsoft.com/office/drawing/2014/main" id="{151636E5-5D65-2E3A-DB65-D17C590988BD}"/>
                </a:ext>
              </a:extLst>
            </p:cNvPr>
            <p:cNvSpPr/>
            <p:nvPr/>
          </p:nvSpPr>
          <p:spPr>
            <a:xfrm>
              <a:off x="18165962" y="2548481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777" name="Picture 1776" descr="A person smiling for the camera&#10;&#10;AI-generated content may be incorrect.">
              <a:extLst>
                <a:ext uri="{FF2B5EF4-FFF2-40B4-BE49-F238E27FC236}">
                  <a16:creationId xmlns:a16="http://schemas.microsoft.com/office/drawing/2014/main" id="{2B7FA37F-511B-59C8-AABC-61B7CB114272}"/>
                </a:ext>
              </a:extLst>
            </p:cNvPr>
            <p:cNvPicPr>
              <a:picLocks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94" t="5782" r="17694" b="29606"/>
            <a:stretch/>
          </p:blipFill>
          <p:spPr>
            <a:xfrm>
              <a:off x="18202796" y="2585315"/>
              <a:ext cx="632914" cy="632914"/>
            </a:xfrm>
            <a:prstGeom prst="ellipse">
              <a:avLst/>
            </a:prstGeom>
          </p:spPr>
        </p:pic>
      </p:grpSp>
      <p:sp>
        <p:nvSpPr>
          <p:cNvPr id="1795" name="TextBox 1794">
            <a:extLst>
              <a:ext uri="{FF2B5EF4-FFF2-40B4-BE49-F238E27FC236}">
                <a16:creationId xmlns:a16="http://schemas.microsoft.com/office/drawing/2014/main" id="{B7D6E236-6F56-13AD-F304-B34CD4F47D1D}"/>
              </a:ext>
            </a:extLst>
          </p:cNvPr>
          <p:cNvSpPr txBox="1">
            <a:spLocks/>
          </p:cNvSpPr>
          <p:nvPr/>
        </p:nvSpPr>
        <p:spPr>
          <a:xfrm>
            <a:off x="10326715" y="2843519"/>
            <a:ext cx="99370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Asaf Tzu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incipal PM</a:t>
            </a:r>
          </a:p>
        </p:txBody>
      </p:sp>
      <p:sp>
        <p:nvSpPr>
          <p:cNvPr id="1812" name="TextBox 1811">
            <a:extLst>
              <a:ext uri="{FF2B5EF4-FFF2-40B4-BE49-F238E27FC236}">
                <a16:creationId xmlns:a16="http://schemas.microsoft.com/office/drawing/2014/main" id="{90C56A4F-1FCD-CF2A-B11F-5178D32442A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733316" y="3841855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10:00–11:00AM PT</a:t>
            </a:r>
          </a:p>
        </p:txBody>
      </p:sp>
      <p:sp>
        <p:nvSpPr>
          <p:cNvPr id="1829" name="TextBox 1828">
            <a:extLst>
              <a:ext uri="{FF2B5EF4-FFF2-40B4-BE49-F238E27FC236}">
                <a16:creationId xmlns:a16="http://schemas.microsoft.com/office/drawing/2014/main" id="{DBD9CD11-D234-859D-1F3A-B82FC16238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7990921" y="4093965"/>
            <a:ext cx="1457335" cy="5078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Measure usage and impact of Copilot and agents</a:t>
            </a:r>
          </a:p>
        </p:txBody>
      </p:sp>
      <p:grpSp>
        <p:nvGrpSpPr>
          <p:cNvPr id="1831" name="Group 1830" descr="Profile picture">
            <a:extLst>
              <a:ext uri="{FF2B5EF4-FFF2-40B4-BE49-F238E27FC236}">
                <a16:creationId xmlns:a16="http://schemas.microsoft.com/office/drawing/2014/main" id="{9D4FB053-E999-D939-6CA5-E0FE0757B1C1}"/>
              </a:ext>
            </a:extLst>
          </p:cNvPr>
          <p:cNvGrpSpPr>
            <a:grpSpLocks/>
          </p:cNvGrpSpPr>
          <p:nvPr/>
        </p:nvGrpSpPr>
        <p:grpSpPr>
          <a:xfrm>
            <a:off x="9704527" y="3820793"/>
            <a:ext cx="482783" cy="482783"/>
            <a:chOff x="17873283" y="2567948"/>
            <a:chExt cx="706582" cy="706582"/>
          </a:xfrm>
        </p:grpSpPr>
        <p:sp>
          <p:nvSpPr>
            <p:cNvPr id="1832" name="Oval 1831">
              <a:extLst>
                <a:ext uri="{FF2B5EF4-FFF2-40B4-BE49-F238E27FC236}">
                  <a16:creationId xmlns:a16="http://schemas.microsoft.com/office/drawing/2014/main" id="{6079C158-4849-70C4-12EC-D076768AB312}"/>
                </a:ext>
              </a:extLst>
            </p:cNvPr>
            <p:cNvSpPr/>
            <p:nvPr/>
          </p:nvSpPr>
          <p:spPr>
            <a:xfrm>
              <a:off x="17873283" y="2567948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833" name="Picture 1832" descr="A person in a black shirt&#10;&#10;AI-generated content may be incorrect.">
              <a:extLst>
                <a:ext uri="{FF2B5EF4-FFF2-40B4-BE49-F238E27FC236}">
                  <a16:creationId xmlns:a16="http://schemas.microsoft.com/office/drawing/2014/main" id="{F620D5D7-13E6-1361-2327-5E84C67620C2}"/>
                </a:ext>
              </a:extLst>
            </p:cNvPr>
            <p:cNvPicPr>
              <a:picLocks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301" t="-330" r="19610" b="33241"/>
            <a:stretch/>
          </p:blipFill>
          <p:spPr>
            <a:xfrm>
              <a:off x="17910117" y="2604782"/>
              <a:ext cx="632914" cy="632914"/>
            </a:xfrm>
            <a:prstGeom prst="ellipse">
              <a:avLst/>
            </a:prstGeom>
          </p:spPr>
        </p:pic>
      </p:grpSp>
      <p:sp>
        <p:nvSpPr>
          <p:cNvPr id="1851" name="TextBox 1850">
            <a:extLst>
              <a:ext uri="{FF2B5EF4-FFF2-40B4-BE49-F238E27FC236}">
                <a16:creationId xmlns:a16="http://schemas.microsoft.com/office/drawing/2014/main" id="{7E4DC42C-6BC8-5F77-82DA-A9B71F875014}"/>
              </a:ext>
            </a:extLst>
          </p:cNvPr>
          <p:cNvSpPr txBox="1">
            <a:spLocks/>
          </p:cNvSpPr>
          <p:nvPr/>
        </p:nvSpPr>
        <p:spPr>
          <a:xfrm>
            <a:off x="10326713" y="3883930"/>
            <a:ext cx="99370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Samer Baroud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Sr. PMM</a:t>
            </a:r>
          </a:p>
        </p:txBody>
      </p:sp>
      <p:grpSp>
        <p:nvGrpSpPr>
          <p:cNvPr id="1859" name="Group 1858" descr="Profile picture">
            <a:extLst>
              <a:ext uri="{FF2B5EF4-FFF2-40B4-BE49-F238E27FC236}">
                <a16:creationId xmlns:a16="http://schemas.microsoft.com/office/drawing/2014/main" id="{7D0EEA8F-30BC-6AE4-1ECB-FBC90D33CE9B}"/>
              </a:ext>
            </a:extLst>
          </p:cNvPr>
          <p:cNvGrpSpPr>
            <a:grpSpLocks/>
          </p:cNvGrpSpPr>
          <p:nvPr/>
        </p:nvGrpSpPr>
        <p:grpSpPr>
          <a:xfrm>
            <a:off x="9704527" y="4370321"/>
            <a:ext cx="482783" cy="482783"/>
            <a:chOff x="20016408" y="2567948"/>
            <a:chExt cx="706582" cy="706582"/>
          </a:xfrm>
        </p:grpSpPr>
        <p:sp>
          <p:nvSpPr>
            <p:cNvPr id="1860" name="Oval 1859">
              <a:extLst>
                <a:ext uri="{FF2B5EF4-FFF2-40B4-BE49-F238E27FC236}">
                  <a16:creationId xmlns:a16="http://schemas.microsoft.com/office/drawing/2014/main" id="{BCA6016F-8BEB-AE53-AB75-51A89D0E6286}"/>
                </a:ext>
              </a:extLst>
            </p:cNvPr>
            <p:cNvSpPr/>
            <p:nvPr/>
          </p:nvSpPr>
          <p:spPr>
            <a:xfrm>
              <a:off x="20016408" y="2567948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861" name="Picture 1860" descr="A person in a suit&#10;&#10;AI-generated content may be incorrect.">
              <a:extLst>
                <a:ext uri="{FF2B5EF4-FFF2-40B4-BE49-F238E27FC236}">
                  <a16:creationId xmlns:a16="http://schemas.microsoft.com/office/drawing/2014/main" id="{23A4D6BA-4D72-616A-04F4-F335268AA8DF}"/>
                </a:ext>
              </a:extLst>
            </p:cNvPr>
            <p:cNvPicPr>
              <a:picLocks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24" t="-87" r="12800" b="24711"/>
            <a:stretch/>
          </p:blipFill>
          <p:spPr>
            <a:xfrm>
              <a:off x="20053242" y="2604782"/>
              <a:ext cx="632914" cy="632914"/>
            </a:xfrm>
            <a:prstGeom prst="ellipse">
              <a:avLst/>
            </a:prstGeom>
          </p:spPr>
        </p:pic>
      </p:grpSp>
      <p:sp>
        <p:nvSpPr>
          <p:cNvPr id="1869" name="TextBox 1868">
            <a:extLst>
              <a:ext uri="{FF2B5EF4-FFF2-40B4-BE49-F238E27FC236}">
                <a16:creationId xmlns:a16="http://schemas.microsoft.com/office/drawing/2014/main" id="{D8924CFD-78CF-8753-602A-939A7E339D3E}"/>
              </a:ext>
            </a:extLst>
          </p:cNvPr>
          <p:cNvSpPr txBox="1">
            <a:spLocks/>
          </p:cNvSpPr>
          <p:nvPr/>
        </p:nvSpPr>
        <p:spPr>
          <a:xfrm>
            <a:off x="10326713" y="4352665"/>
            <a:ext cx="1280861" cy="5180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Mike Wal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irector, PMM, Copilot Analytics</a:t>
            </a:r>
          </a:p>
        </p:txBody>
      </p:sp>
      <p:sp>
        <p:nvSpPr>
          <p:cNvPr id="1877" name="TextBox 1876">
            <a:extLst>
              <a:ext uri="{FF2B5EF4-FFF2-40B4-BE49-F238E27FC236}">
                <a16:creationId xmlns:a16="http://schemas.microsoft.com/office/drawing/2014/main" id="{6940A690-4114-A2DF-7992-46402E66035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733316" y="5156993"/>
            <a:ext cx="1145220" cy="986496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45720" rIns="27432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932742" fontAlgn="base">
              <a:spcBef>
                <a:spcPct val="0"/>
              </a:spcBef>
              <a:spcAft>
                <a:spcPts val="600"/>
              </a:spcAft>
              <a:defRPr>
                <a:ln w="3175">
                  <a:noFill/>
                </a:ln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327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3701239" algn="l"/>
              </a:tabLst>
              <a:defRPr/>
            </a:pPr>
            <a:r>
              <a:rPr kumimoji="0" lang="en-US" sz="1200" b="0" i="0" u="none" strike="noStrike" kern="1200" cap="none" spc="0" normalizeH="0" baseline="0" noProof="0">
                <a:ln w="3175"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 Semibold"/>
                <a:ea typeface="+mj-ea"/>
                <a:cs typeface="+mj-cs"/>
              </a:rPr>
              <a:t>11:00AM–12:00PM PT</a:t>
            </a:r>
          </a:p>
        </p:txBody>
      </p:sp>
      <p:sp>
        <p:nvSpPr>
          <p:cNvPr id="1883" name="TextBox 1882">
            <a:extLst>
              <a:ext uri="{FF2B5EF4-FFF2-40B4-BE49-F238E27FC236}">
                <a16:creationId xmlns:a16="http://schemas.microsoft.com/office/drawing/2014/main" id="{13C8F5CD-8E57-BA55-8C76-7F97389F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 rot="10800000" flipV="1">
            <a:off x="7990921" y="5396326"/>
            <a:ext cx="1457335" cy="5078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Practical guidance for AI and collaboration adoption</a:t>
            </a:r>
          </a:p>
        </p:txBody>
      </p:sp>
      <p:grpSp>
        <p:nvGrpSpPr>
          <p:cNvPr id="1884" name="Group 1883" descr="Profile picture">
            <a:extLst>
              <a:ext uri="{FF2B5EF4-FFF2-40B4-BE49-F238E27FC236}">
                <a16:creationId xmlns:a16="http://schemas.microsoft.com/office/drawing/2014/main" id="{E305C68F-313A-C0D1-8C7B-2A967F30CE85}"/>
              </a:ext>
            </a:extLst>
          </p:cNvPr>
          <p:cNvGrpSpPr>
            <a:grpSpLocks/>
          </p:cNvGrpSpPr>
          <p:nvPr/>
        </p:nvGrpSpPr>
        <p:grpSpPr>
          <a:xfrm>
            <a:off x="9704527" y="5408851"/>
            <a:ext cx="482783" cy="482783"/>
            <a:chOff x="17873283" y="3882182"/>
            <a:chExt cx="706582" cy="706582"/>
          </a:xfrm>
        </p:grpSpPr>
        <p:sp>
          <p:nvSpPr>
            <p:cNvPr id="1885" name="Oval 1884">
              <a:extLst>
                <a:ext uri="{FF2B5EF4-FFF2-40B4-BE49-F238E27FC236}">
                  <a16:creationId xmlns:a16="http://schemas.microsoft.com/office/drawing/2014/main" id="{23B1CB09-ABE0-FD72-BD97-4DC25057AFED}"/>
                </a:ext>
              </a:extLst>
            </p:cNvPr>
            <p:cNvSpPr/>
            <p:nvPr/>
          </p:nvSpPr>
          <p:spPr>
            <a:xfrm>
              <a:off x="17873283" y="3882182"/>
              <a:ext cx="706582" cy="706582"/>
            </a:xfrm>
            <a:prstGeom prst="ellipse">
              <a:avLst/>
            </a:prstGeom>
            <a:gradFill flip="none" rotWithShape="1">
              <a:gsLst>
                <a:gs pos="41000">
                  <a:srgbClr val="785DCC"/>
                </a:gs>
                <a:gs pos="11000">
                  <a:srgbClr val="3A75D3"/>
                </a:gs>
                <a:gs pos="73000">
                  <a:srgbClr val="B943C5"/>
                </a:gs>
              </a:gsLst>
              <a:lin ang="2700000" scaled="1"/>
              <a:tileRect/>
            </a:gradFill>
            <a:ln>
              <a:solidFill>
                <a:schemeClr val="bg1"/>
              </a:solidFill>
            </a:ln>
            <a:effectLst>
              <a:outerShdw blurRad="114300" sx="102000" sy="102000" algn="ctr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endParaRPr>
            </a:p>
          </p:txBody>
        </p:sp>
        <p:pic>
          <p:nvPicPr>
            <p:cNvPr id="1886" name="Picture 1885" descr="A person with long blonde hair&#10;&#10;AI-generated content may be incorrect.">
              <a:extLst>
                <a:ext uri="{FF2B5EF4-FFF2-40B4-BE49-F238E27FC236}">
                  <a16:creationId xmlns:a16="http://schemas.microsoft.com/office/drawing/2014/main" id="{BCCD79A4-D0A5-9BC1-FE3C-4FDA7B78D928}"/>
                </a:ext>
              </a:extLst>
            </p:cNvPr>
            <p:cNvPicPr>
              <a:picLocks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68" t="-788" r="16888" b="35545"/>
            <a:stretch/>
          </p:blipFill>
          <p:spPr>
            <a:xfrm>
              <a:off x="17910117" y="3919016"/>
              <a:ext cx="632914" cy="632914"/>
            </a:xfrm>
            <a:prstGeom prst="ellipse">
              <a:avLst/>
            </a:prstGeom>
          </p:spPr>
        </p:pic>
      </p:grpSp>
      <p:sp>
        <p:nvSpPr>
          <p:cNvPr id="1888" name="TextBox 1887">
            <a:extLst>
              <a:ext uri="{FF2B5EF4-FFF2-40B4-BE49-F238E27FC236}">
                <a16:creationId xmlns:a16="http://schemas.microsoft.com/office/drawing/2014/main" id="{0944CEA1-14B9-8DE1-AD56-CE6FCF056DBE}"/>
              </a:ext>
            </a:extLst>
          </p:cNvPr>
          <p:cNvSpPr txBox="1">
            <a:spLocks/>
          </p:cNvSpPr>
          <p:nvPr/>
        </p:nvSpPr>
        <p:spPr>
          <a:xfrm>
            <a:off x="10326713" y="5471988"/>
            <a:ext cx="1280861" cy="3565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3BC4"/>
                </a:solidFill>
                <a:effectLst/>
                <a:uLnTx/>
                <a:uFillTx/>
                <a:latin typeface="Segoe Sans Display Semibold"/>
                <a:ea typeface="+mn-ea"/>
                <a:cs typeface="+mn-cs"/>
              </a:rPr>
              <a:t>Karuana Gatim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91F2C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  <a:t>Director of CX PM</a:t>
            </a:r>
          </a:p>
        </p:txBody>
      </p:sp>
    </p:spTree>
    <p:extLst>
      <p:ext uri="{BB962C8B-B14F-4D97-AF65-F5344CB8AC3E}">
        <p14:creationId xmlns:p14="http://schemas.microsoft.com/office/powerpoint/2010/main" val="69136390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7FCACE9F-2EDD-C76A-130D-C2FFED68F7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D0831F8-80CA-BC7A-F751-9B9A1B2285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55" r="305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2609246-40B4-A8D8-A071-26F83FDC58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2191998" cy="68580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657A785-6078-89D5-B3BE-F3D80CCDC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046" cy="677108"/>
          </a:xfrm>
        </p:spPr>
        <p:txBody>
          <a:bodyPr/>
          <a:lstStyle/>
          <a:p>
            <a:r>
              <a:rPr lang="en-US" sz="4400" dirty="0"/>
              <a:t>Key takeaways from the deep dive</a:t>
            </a:r>
          </a:p>
        </p:txBody>
      </p:sp>
      <p:sp>
        <p:nvSpPr>
          <p:cNvPr id="7" name="Rectangle: Rounded Corners 50">
            <a:extLst>
              <a:ext uri="{FF2B5EF4-FFF2-40B4-BE49-F238E27FC236}">
                <a16:creationId xmlns:a16="http://schemas.microsoft.com/office/drawing/2014/main" id="{9380FF3A-6B0E-044A-E150-9AE2256B8E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7175" y="1517096"/>
            <a:ext cx="11146367" cy="7787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8" name="Rectangle: Rounded Corners 50">
            <a:extLst>
              <a:ext uri="{FF2B5EF4-FFF2-40B4-BE49-F238E27FC236}">
                <a16:creationId xmlns:a16="http://schemas.microsoft.com/office/drawing/2014/main" id="{2529941C-790F-2102-F48F-682607FFFD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7175" y="2564410"/>
            <a:ext cx="11146367" cy="7787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9" name="Rectangle: Rounded Corners 50">
            <a:extLst>
              <a:ext uri="{FF2B5EF4-FFF2-40B4-BE49-F238E27FC236}">
                <a16:creationId xmlns:a16="http://schemas.microsoft.com/office/drawing/2014/main" id="{CB439039-7A24-65DC-A5E2-4CC68FEFF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7174" y="3611724"/>
            <a:ext cx="11146367" cy="7787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0" name="Rectangle: Rounded Corners 50">
            <a:extLst>
              <a:ext uri="{FF2B5EF4-FFF2-40B4-BE49-F238E27FC236}">
                <a16:creationId xmlns:a16="http://schemas.microsoft.com/office/drawing/2014/main" id="{ACACBB39-154A-45BB-3276-68EA02AEE5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7174" y="4659038"/>
            <a:ext cx="11146367" cy="7787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11" name="Rectangle: Rounded Corners 50">
            <a:extLst>
              <a:ext uri="{FF2B5EF4-FFF2-40B4-BE49-F238E27FC236}">
                <a16:creationId xmlns:a16="http://schemas.microsoft.com/office/drawing/2014/main" id="{1C548523-08E7-6B0E-EDA8-A7D33EB44B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77174" y="5706352"/>
            <a:ext cx="11146367" cy="77877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15900" algn="ctr" rotWithShape="0">
              <a:prstClr val="black">
                <a:alpha val="13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576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Sans Display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Sans Display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2F30FE1-AF85-3A94-3DB0-80A08C593C1E}"/>
              </a:ext>
            </a:extLst>
          </p:cNvPr>
          <p:cNvSpPr txBox="1">
            <a:spLocks/>
          </p:cNvSpPr>
          <p:nvPr/>
        </p:nvSpPr>
        <p:spPr>
          <a:xfrm>
            <a:off x="891283" y="1691039"/>
            <a:ext cx="8184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Security is foundational, not optional </a:t>
            </a:r>
            <a:endParaRPr kumimoji="0" lang="en-US" sz="2000" b="0" i="0" u="none" strike="noStrike" kern="1200" cap="none" spc="8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Segoe Sans Display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6265315-FED4-FA50-3995-3E2E2D498568}"/>
              </a:ext>
            </a:extLst>
          </p:cNvPr>
          <p:cNvSpPr txBox="1">
            <a:spLocks/>
          </p:cNvSpPr>
          <p:nvPr/>
        </p:nvSpPr>
        <p:spPr>
          <a:xfrm>
            <a:off x="891282" y="2788424"/>
            <a:ext cx="8184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Copilot and agents are for everyone</a:t>
            </a:r>
            <a:endParaRPr kumimoji="0" lang="en-US" sz="2000" b="0" i="0" u="none" strike="noStrike" kern="1200" cap="none" spc="8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Segoe Sans Display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9ED49A3-18EA-4E2C-0F22-3B27A5AB76E8}"/>
              </a:ext>
            </a:extLst>
          </p:cNvPr>
          <p:cNvSpPr txBox="1">
            <a:spLocks/>
          </p:cNvSpPr>
          <p:nvPr/>
        </p:nvSpPr>
        <p:spPr>
          <a:xfrm>
            <a:off x="891282" y="3785667"/>
            <a:ext cx="8184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lang="en-US" spc="80" dirty="0">
                <a:solidFill>
                  <a:srgbClr val="0078D4"/>
                </a:solidFill>
                <a:latin typeface="Segoe Sans Display Semibold"/>
              </a:rPr>
              <a:t>Governance and innovation can coexist</a:t>
            </a:r>
            <a:endParaRPr kumimoji="0" lang="en-US" sz="2000" b="0" i="0" u="none" strike="noStrike" kern="1200" cap="none" spc="8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Segoe Sans Display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99448EE-C185-D37A-F5A9-6EC7BE4DC6DE}"/>
              </a:ext>
            </a:extLst>
          </p:cNvPr>
          <p:cNvSpPr txBox="1">
            <a:spLocks/>
          </p:cNvSpPr>
          <p:nvPr/>
        </p:nvSpPr>
        <p:spPr>
          <a:xfrm>
            <a:off x="891282" y="4832981"/>
            <a:ext cx="8184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Measurement turns momentum into impact</a:t>
            </a:r>
            <a:endParaRPr kumimoji="0" lang="en-US" sz="2000" b="0" i="0" u="none" strike="noStrike" kern="1200" cap="none" spc="8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Segoe Sans Display" pitchFamily="2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085165B-3401-3651-66D4-EBCAF17046AA}"/>
              </a:ext>
            </a:extLst>
          </p:cNvPr>
          <p:cNvSpPr txBox="1">
            <a:spLocks/>
          </p:cNvSpPr>
          <p:nvPr/>
        </p:nvSpPr>
        <p:spPr>
          <a:xfrm>
            <a:off x="891282" y="5889703"/>
            <a:ext cx="818409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800" kern="1200" spc="0" baseline="0">
                <a:solidFill>
                  <a:schemeClr val="tx1"/>
                </a:solidFill>
                <a:latin typeface="+mn-lt"/>
                <a:ea typeface="+mn-ea"/>
                <a:cs typeface="Segoe Sans Display" pitchFamily="2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0" i="0" u="none" strike="noStrike" kern="1200" cap="none" spc="80" normalizeH="0" baseline="0" noProof="0" dirty="0">
                <a:ln>
                  <a:noFill/>
                </a:ln>
                <a:solidFill>
                  <a:srgbClr val="0078D4"/>
                </a:solidFill>
                <a:effectLst/>
                <a:uLnTx/>
                <a:uFillTx/>
                <a:latin typeface="Segoe Sans Display Semibold"/>
                <a:ea typeface="+mn-ea"/>
                <a:cs typeface="Segoe Sans Display" pitchFamily="2" charset="0"/>
              </a:rPr>
              <a:t>People make the platform work</a:t>
            </a:r>
            <a:endParaRPr kumimoji="0" lang="en-US" sz="2000" b="0" i="0" u="none" strike="noStrike" kern="1200" cap="none" spc="80" normalizeH="0" baseline="0" noProof="0" dirty="0">
              <a:ln>
                <a:noFill/>
              </a:ln>
              <a:solidFill>
                <a:srgbClr val="091F2C"/>
              </a:solidFill>
              <a:effectLst/>
              <a:uLnTx/>
              <a:uFillTx/>
              <a:latin typeface="Segoe Sans Display"/>
              <a:ea typeface="+mn-ea"/>
              <a:cs typeface="Segoe Sans Display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88065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14C35-F873-DDAD-61FD-D6DD5DD89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457200"/>
            <a:ext cx="11052175" cy="492125"/>
          </a:xfrm>
        </p:spPr>
        <p:txBody>
          <a:bodyPr/>
          <a:lstStyle/>
          <a:p>
            <a:r>
              <a:rPr lang="en-US" dirty="0"/>
              <a:t>The journey continues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838B6B9-6810-BBD2-379B-6619AAAFB63F}"/>
              </a:ext>
            </a:extLst>
          </p:cNvPr>
          <p:cNvSpPr>
            <a:spLocks/>
          </p:cNvSpPr>
          <p:nvPr/>
        </p:nvSpPr>
        <p:spPr>
          <a:xfrm>
            <a:off x="571500" y="1268775"/>
            <a:ext cx="683640" cy="683638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600">
              <a:solidFill>
                <a:srgbClr val="091F2C"/>
              </a:solidFill>
              <a:latin typeface="Segoe Sans Display Semibold"/>
            </a:endParaRPr>
          </a:p>
        </p:txBody>
      </p:sp>
      <p:sp>
        <p:nvSpPr>
          <p:cNvPr id="51" name="Arrow: Pentagon 4">
            <a:extLst>
              <a:ext uri="{FF2B5EF4-FFF2-40B4-BE49-F238E27FC236}">
                <a16:creationId xmlns:a16="http://schemas.microsoft.com/office/drawing/2014/main" id="{05CB8C4B-8FFD-6367-D65E-80BAD791F670}"/>
              </a:ext>
            </a:extLst>
          </p:cNvPr>
          <p:cNvSpPr txBox="1"/>
          <p:nvPr/>
        </p:nvSpPr>
        <p:spPr>
          <a:xfrm>
            <a:off x="1463040" y="1408661"/>
            <a:ext cx="10160636" cy="4038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defTabSz="914367">
              <a:defRPr/>
            </a:pPr>
            <a:r>
              <a:rPr lang="en-US" sz="2000" dirty="0">
                <a:hlinkClick r:id="rId3" tooltip="https://techcommunity.microsoft.com/event/microsoft365copilot-events/digital-deep-dive-copilot-control-system-ccs/4414752"/>
              </a:rPr>
              <a:t>Digital Deep Dive: Copilot Control System (CCS) | Microsoft Community Hub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6FA75BF5-B858-0B3E-2892-B6F6A1FA91BA}"/>
              </a:ext>
            </a:extLst>
          </p:cNvPr>
          <p:cNvSpPr>
            <a:spLocks/>
          </p:cNvSpPr>
          <p:nvPr/>
        </p:nvSpPr>
        <p:spPr>
          <a:xfrm>
            <a:off x="571500" y="2367457"/>
            <a:ext cx="683640" cy="683638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600">
              <a:solidFill>
                <a:srgbClr val="091F2C"/>
              </a:solidFill>
              <a:latin typeface="Segoe Sans Display Semibold"/>
            </a:endParaRPr>
          </a:p>
        </p:txBody>
      </p:sp>
      <p:sp>
        <p:nvSpPr>
          <p:cNvPr id="52" name="Arrow: Pentagon 7">
            <a:extLst>
              <a:ext uri="{FF2B5EF4-FFF2-40B4-BE49-F238E27FC236}">
                <a16:creationId xmlns:a16="http://schemas.microsoft.com/office/drawing/2014/main" id="{7A23122B-A978-6697-EAB8-4329B1CC5A4A}"/>
              </a:ext>
            </a:extLst>
          </p:cNvPr>
          <p:cNvSpPr txBox="1"/>
          <p:nvPr/>
        </p:nvSpPr>
        <p:spPr>
          <a:xfrm>
            <a:off x="1463040" y="2507343"/>
            <a:ext cx="10160636" cy="4038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defTabSz="914367">
              <a:defRPr/>
            </a:pPr>
            <a:r>
              <a:rPr lang="en-US" sz="2000" dirty="0">
                <a:hlinkClick r:id="rId4"/>
              </a:rPr>
              <a:t>Microsoft 365 Copilot Discussion Board | Microsoft Community Hub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18699C6-95A1-9F04-8773-30EB985B0F36}"/>
              </a:ext>
            </a:extLst>
          </p:cNvPr>
          <p:cNvSpPr>
            <a:spLocks/>
          </p:cNvSpPr>
          <p:nvPr/>
        </p:nvSpPr>
        <p:spPr>
          <a:xfrm>
            <a:off x="571500" y="3466139"/>
            <a:ext cx="683640" cy="683638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600">
              <a:solidFill>
                <a:srgbClr val="091F2C"/>
              </a:solidFill>
              <a:latin typeface="Segoe Sans Display Semibold"/>
            </a:endParaRPr>
          </a:p>
        </p:txBody>
      </p:sp>
      <p:sp>
        <p:nvSpPr>
          <p:cNvPr id="53" name="Arrow: Pentagon 10">
            <a:extLst>
              <a:ext uri="{FF2B5EF4-FFF2-40B4-BE49-F238E27FC236}">
                <a16:creationId xmlns:a16="http://schemas.microsoft.com/office/drawing/2014/main" id="{DBDF0822-3E00-5A7C-460D-8B13750C3216}"/>
              </a:ext>
            </a:extLst>
          </p:cNvPr>
          <p:cNvSpPr txBox="1"/>
          <p:nvPr/>
        </p:nvSpPr>
        <p:spPr>
          <a:xfrm>
            <a:off x="1463040" y="3606025"/>
            <a:ext cx="10160636" cy="4038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defTabSz="914367">
              <a:defRPr/>
            </a:pPr>
            <a:r>
              <a:rPr lang="en-US" sz="2000" dirty="0">
                <a:hlinkClick r:id="rId5" tooltip="https://techcommunity.microsoft.com/blog/microsoft365copilotblog/what%e2%80%99s-new-in-microsoft-365-copilot--may-2025/4414313"/>
              </a:rPr>
              <a:t>What’s new in Microsoft 365 Copilot | May 2025 | Microsoft Community Hub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F6458BB6-D8F0-F719-7E69-AF4A70ECC44F}"/>
              </a:ext>
            </a:extLst>
          </p:cNvPr>
          <p:cNvSpPr>
            <a:spLocks/>
          </p:cNvSpPr>
          <p:nvPr/>
        </p:nvSpPr>
        <p:spPr>
          <a:xfrm>
            <a:off x="571500" y="4564821"/>
            <a:ext cx="683640" cy="683638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600">
              <a:solidFill>
                <a:srgbClr val="091F2C"/>
              </a:solidFill>
              <a:latin typeface="Segoe Sans Display Semibold"/>
            </a:endParaRPr>
          </a:p>
        </p:txBody>
      </p:sp>
      <p:sp>
        <p:nvSpPr>
          <p:cNvPr id="54" name="Arrow: Pentagon 13">
            <a:extLst>
              <a:ext uri="{FF2B5EF4-FFF2-40B4-BE49-F238E27FC236}">
                <a16:creationId xmlns:a16="http://schemas.microsoft.com/office/drawing/2014/main" id="{0040C5F9-B040-9D57-6015-29ADFCFFBA31}"/>
              </a:ext>
            </a:extLst>
          </p:cNvPr>
          <p:cNvSpPr txBox="1"/>
          <p:nvPr/>
        </p:nvSpPr>
        <p:spPr>
          <a:xfrm>
            <a:off x="1463040" y="4704707"/>
            <a:ext cx="10160636" cy="4038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defTabSz="914367">
              <a:defRPr/>
            </a:pPr>
            <a:r>
              <a:rPr lang="en-US" sz="2000" dirty="0">
                <a:hlinkClick r:id="rId6"/>
              </a:rPr>
              <a:t>Microsoft 365 Copilot Adoption Hub | Microsoft Adop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Segoe UI Semibold" panose="020B0702040204020203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DF84C58B-4F86-FEE5-CC64-DEC14C657279}"/>
              </a:ext>
            </a:extLst>
          </p:cNvPr>
          <p:cNvSpPr>
            <a:spLocks/>
          </p:cNvSpPr>
          <p:nvPr/>
        </p:nvSpPr>
        <p:spPr>
          <a:xfrm>
            <a:off x="571500" y="5663505"/>
            <a:ext cx="683640" cy="683638"/>
          </a:xfrm>
          <a:prstGeom prst="ellipse">
            <a:avLst/>
          </a:prstGeom>
          <a:solidFill>
            <a:schemeClr val="bg1"/>
          </a:solidFill>
          <a:ln w="19050">
            <a:gradFill>
              <a:gsLst>
                <a:gs pos="100000">
                  <a:srgbClr val="C03BC4"/>
                </a:gs>
                <a:gs pos="0">
                  <a:srgbClr val="0078D4"/>
                </a:gs>
              </a:gsLst>
              <a:lin ang="0" scaled="0"/>
            </a:gradFill>
          </a:ln>
          <a:effectLst>
            <a:outerShdw blurRad="177800" dist="254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1600">
              <a:solidFill>
                <a:srgbClr val="091F2C"/>
              </a:solidFill>
              <a:latin typeface="Segoe Sans Display Semibold"/>
            </a:endParaRPr>
          </a:p>
        </p:txBody>
      </p:sp>
      <p:sp>
        <p:nvSpPr>
          <p:cNvPr id="55" name="Arrow: Pentagon 16">
            <a:extLst>
              <a:ext uri="{FF2B5EF4-FFF2-40B4-BE49-F238E27FC236}">
                <a16:creationId xmlns:a16="http://schemas.microsoft.com/office/drawing/2014/main" id="{6764596E-5E69-29F8-6073-86AC05CC5E97}"/>
              </a:ext>
            </a:extLst>
          </p:cNvPr>
          <p:cNvSpPr txBox="1"/>
          <p:nvPr/>
        </p:nvSpPr>
        <p:spPr>
          <a:xfrm>
            <a:off x="1463040" y="5803391"/>
            <a:ext cx="10160636" cy="4038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60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 defTabSz="914367">
              <a:defRPr/>
            </a:pPr>
            <a:r>
              <a:rPr lang="en-US" sz="2000" dirty="0">
                <a:hlinkClick r:id="rId7"/>
              </a:rPr>
              <a:t>Leading in the Era of AI | Microsoft Adoption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112EBAA-9513-62F6-F88F-08C682E1ADA1}"/>
              </a:ext>
            </a:extLst>
          </p:cNvPr>
          <p:cNvCxnSpPr>
            <a:cxnSpLocks/>
          </p:cNvCxnSpPr>
          <p:nvPr/>
        </p:nvCxnSpPr>
        <p:spPr>
          <a:xfrm>
            <a:off x="1463040" y="2159935"/>
            <a:ext cx="101606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F3A2E0E-658D-9B78-5A07-FA7564164658}"/>
              </a:ext>
            </a:extLst>
          </p:cNvPr>
          <p:cNvCxnSpPr>
            <a:cxnSpLocks/>
          </p:cNvCxnSpPr>
          <p:nvPr/>
        </p:nvCxnSpPr>
        <p:spPr>
          <a:xfrm>
            <a:off x="1463040" y="3258617"/>
            <a:ext cx="101606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47614F2C-D8CD-B52E-C7A0-06699A6882E1}"/>
              </a:ext>
            </a:extLst>
          </p:cNvPr>
          <p:cNvCxnSpPr>
            <a:cxnSpLocks/>
          </p:cNvCxnSpPr>
          <p:nvPr/>
        </p:nvCxnSpPr>
        <p:spPr>
          <a:xfrm>
            <a:off x="1463040" y="4357299"/>
            <a:ext cx="101606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C65EF104-66FE-0B44-5706-531FAB75C05D}"/>
              </a:ext>
            </a:extLst>
          </p:cNvPr>
          <p:cNvCxnSpPr>
            <a:cxnSpLocks/>
          </p:cNvCxnSpPr>
          <p:nvPr/>
        </p:nvCxnSpPr>
        <p:spPr>
          <a:xfrm>
            <a:off x="1463040" y="5455981"/>
            <a:ext cx="10160636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Graphic 66">
            <a:extLst>
              <a:ext uri="{FF2B5EF4-FFF2-40B4-BE49-F238E27FC236}">
                <a16:creationId xmlns:a16="http://schemas.microsoft.com/office/drawing/2014/main" id="{30B67493-4A0C-E7A2-F6C8-55778111253E}"/>
              </a:ext>
            </a:extLst>
          </p:cNvPr>
          <p:cNvSpPr/>
          <p:nvPr/>
        </p:nvSpPr>
        <p:spPr>
          <a:xfrm>
            <a:off x="738409" y="1435693"/>
            <a:ext cx="349822" cy="349802"/>
          </a:xfrm>
          <a:custGeom>
            <a:avLst/>
            <a:gdLst>
              <a:gd name="connsiteX0" fmla="*/ 147561 w 184118"/>
              <a:gd name="connsiteY0" fmla="*/ 6277 h 184108"/>
              <a:gd name="connsiteX1" fmla="*/ 177841 w 184118"/>
              <a:gd name="connsiteY1" fmla="*/ 36557 h 184108"/>
              <a:gd name="connsiteX2" fmla="*/ 177841 w 184118"/>
              <a:gd name="connsiteY2" fmla="*/ 66866 h 184108"/>
              <a:gd name="connsiteX3" fmla="*/ 177841 w 184118"/>
              <a:gd name="connsiteY3" fmla="*/ 66866 h 184108"/>
              <a:gd name="connsiteX4" fmla="*/ 153229 w 184118"/>
              <a:gd name="connsiteY4" fmla="*/ 91478 h 184108"/>
              <a:gd name="connsiteX5" fmla="*/ 171450 w 184118"/>
              <a:gd name="connsiteY5" fmla="*/ 112671 h 184108"/>
              <a:gd name="connsiteX6" fmla="*/ 171450 w 184118"/>
              <a:gd name="connsiteY6" fmla="*/ 162678 h 184108"/>
              <a:gd name="connsiteX7" fmla="*/ 150019 w 184118"/>
              <a:gd name="connsiteY7" fmla="*/ 184109 h 184108"/>
              <a:gd name="connsiteX8" fmla="*/ 21431 w 184118"/>
              <a:gd name="connsiteY8" fmla="*/ 184109 h 184108"/>
              <a:gd name="connsiteX9" fmla="*/ 0 w 184118"/>
              <a:gd name="connsiteY9" fmla="*/ 162678 h 184108"/>
              <a:gd name="connsiteX10" fmla="*/ 0 w 184118"/>
              <a:gd name="connsiteY10" fmla="*/ 34090 h 184108"/>
              <a:gd name="connsiteX11" fmla="*/ 21431 w 184118"/>
              <a:gd name="connsiteY11" fmla="*/ 12659 h 184108"/>
              <a:gd name="connsiteX12" fmla="*/ 71438 w 184118"/>
              <a:gd name="connsiteY12" fmla="*/ 12659 h 184108"/>
              <a:gd name="connsiteX13" fmla="*/ 92631 w 184118"/>
              <a:gd name="connsiteY13" fmla="*/ 30899 h 184108"/>
              <a:gd name="connsiteX14" fmla="*/ 117253 w 184118"/>
              <a:gd name="connsiteY14" fmla="*/ 6277 h 184108"/>
              <a:gd name="connsiteX15" fmla="*/ 147561 w 184118"/>
              <a:gd name="connsiteY15" fmla="*/ 6277 h 184108"/>
              <a:gd name="connsiteX16" fmla="*/ 147561 w 184118"/>
              <a:gd name="connsiteY16" fmla="*/ 6277 h 184108"/>
              <a:gd name="connsiteX17" fmla="*/ 14288 w 184118"/>
              <a:gd name="connsiteY17" fmla="*/ 162678 h 184108"/>
              <a:gd name="connsiteX18" fmla="*/ 21431 w 184118"/>
              <a:gd name="connsiteY18" fmla="*/ 169821 h 184108"/>
              <a:gd name="connsiteX19" fmla="*/ 78572 w 184118"/>
              <a:gd name="connsiteY19" fmla="*/ 169812 h 184108"/>
              <a:gd name="connsiteX20" fmla="*/ 78581 w 184118"/>
              <a:gd name="connsiteY20" fmla="*/ 105518 h 184108"/>
              <a:gd name="connsiteX21" fmla="*/ 14288 w 184118"/>
              <a:gd name="connsiteY21" fmla="*/ 105518 h 184108"/>
              <a:gd name="connsiteX22" fmla="*/ 14288 w 184118"/>
              <a:gd name="connsiteY22" fmla="*/ 162668 h 184108"/>
              <a:gd name="connsiteX23" fmla="*/ 92859 w 184118"/>
              <a:gd name="connsiteY23" fmla="*/ 169812 h 184108"/>
              <a:gd name="connsiteX24" fmla="*/ 150019 w 184118"/>
              <a:gd name="connsiteY24" fmla="*/ 169812 h 184108"/>
              <a:gd name="connsiteX25" fmla="*/ 157163 w 184118"/>
              <a:gd name="connsiteY25" fmla="*/ 162668 h 184108"/>
              <a:gd name="connsiteX26" fmla="*/ 157163 w 184118"/>
              <a:gd name="connsiteY26" fmla="*/ 112671 h 184108"/>
              <a:gd name="connsiteX27" fmla="*/ 150019 w 184118"/>
              <a:gd name="connsiteY27" fmla="*/ 105528 h 184108"/>
              <a:gd name="connsiteX28" fmla="*/ 92859 w 184118"/>
              <a:gd name="connsiteY28" fmla="*/ 105528 h 184108"/>
              <a:gd name="connsiteX29" fmla="*/ 92859 w 184118"/>
              <a:gd name="connsiteY29" fmla="*/ 169821 h 184108"/>
              <a:gd name="connsiteX30" fmla="*/ 71438 w 184118"/>
              <a:gd name="connsiteY30" fmla="*/ 26937 h 184108"/>
              <a:gd name="connsiteX31" fmla="*/ 21431 w 184118"/>
              <a:gd name="connsiteY31" fmla="*/ 26937 h 184108"/>
              <a:gd name="connsiteX32" fmla="*/ 14288 w 184118"/>
              <a:gd name="connsiteY32" fmla="*/ 34081 h 184108"/>
              <a:gd name="connsiteX33" fmla="*/ 14288 w 184118"/>
              <a:gd name="connsiteY33" fmla="*/ 91231 h 184108"/>
              <a:gd name="connsiteX34" fmla="*/ 78581 w 184118"/>
              <a:gd name="connsiteY34" fmla="*/ 91231 h 184108"/>
              <a:gd name="connsiteX35" fmla="*/ 78581 w 184118"/>
              <a:gd name="connsiteY35" fmla="*/ 34081 h 184108"/>
              <a:gd name="connsiteX36" fmla="*/ 71438 w 184118"/>
              <a:gd name="connsiteY36" fmla="*/ 26937 h 184108"/>
              <a:gd name="connsiteX37" fmla="*/ 92869 w 184118"/>
              <a:gd name="connsiteY37" fmla="*/ 72752 h 184108"/>
              <a:gd name="connsiteX38" fmla="*/ 92869 w 184118"/>
              <a:gd name="connsiteY38" fmla="*/ 91231 h 184108"/>
              <a:gd name="connsiteX39" fmla="*/ 111347 w 184118"/>
              <a:gd name="connsiteY39" fmla="*/ 91231 h 184108"/>
              <a:gd name="connsiteX40" fmla="*/ 92869 w 184118"/>
              <a:gd name="connsiteY40" fmla="*/ 72752 h 184108"/>
              <a:gd name="connsiteX41" fmla="*/ 127349 w 184118"/>
              <a:gd name="connsiteY41" fmla="*/ 16383 h 184108"/>
              <a:gd name="connsiteX42" fmla="*/ 97079 w 184118"/>
              <a:gd name="connsiteY42" fmla="*/ 46654 h 184108"/>
              <a:gd name="connsiteX43" fmla="*/ 97076 w 184118"/>
              <a:gd name="connsiteY43" fmla="*/ 56756 h 184108"/>
              <a:gd name="connsiteX44" fmla="*/ 97079 w 184118"/>
              <a:gd name="connsiteY44" fmla="*/ 56760 h 184108"/>
              <a:gd name="connsiteX45" fmla="*/ 127359 w 184118"/>
              <a:gd name="connsiteY45" fmla="*/ 87040 h 184108"/>
              <a:gd name="connsiteX46" fmla="*/ 137455 w 184118"/>
              <a:gd name="connsiteY46" fmla="*/ 87040 h 184108"/>
              <a:gd name="connsiteX47" fmla="*/ 167745 w 184118"/>
              <a:gd name="connsiteY47" fmla="*/ 56760 h 184108"/>
              <a:gd name="connsiteX48" fmla="*/ 167745 w 184118"/>
              <a:gd name="connsiteY48" fmla="*/ 46663 h 184108"/>
              <a:gd name="connsiteX49" fmla="*/ 137455 w 184118"/>
              <a:gd name="connsiteY49" fmla="*/ 16374 h 184108"/>
              <a:gd name="connsiteX50" fmla="*/ 127359 w 184118"/>
              <a:gd name="connsiteY50" fmla="*/ 16374 h 184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84118" h="184108">
                <a:moveTo>
                  <a:pt x="147561" y="6277"/>
                </a:moveTo>
                <a:lnTo>
                  <a:pt x="177841" y="36557"/>
                </a:lnTo>
                <a:cubicBezTo>
                  <a:pt x="186211" y="44926"/>
                  <a:pt x="186211" y="58496"/>
                  <a:pt x="177841" y="66866"/>
                </a:cubicBezTo>
                <a:cubicBezTo>
                  <a:pt x="177841" y="66866"/>
                  <a:pt x="177841" y="66866"/>
                  <a:pt x="177841" y="66866"/>
                </a:cubicBezTo>
                <a:lnTo>
                  <a:pt x="153229" y="91478"/>
                </a:lnTo>
                <a:cubicBezTo>
                  <a:pt x="163707" y="93065"/>
                  <a:pt x="171452" y="102074"/>
                  <a:pt x="171450" y="112671"/>
                </a:cubicBezTo>
                <a:lnTo>
                  <a:pt x="171450" y="162678"/>
                </a:lnTo>
                <a:cubicBezTo>
                  <a:pt x="171450" y="174513"/>
                  <a:pt x="161855" y="184109"/>
                  <a:pt x="150019" y="184109"/>
                </a:cubicBezTo>
                <a:lnTo>
                  <a:pt x="21431" y="184109"/>
                </a:lnTo>
                <a:cubicBezTo>
                  <a:pt x="9595" y="184109"/>
                  <a:pt x="0" y="174513"/>
                  <a:pt x="0" y="162678"/>
                </a:cubicBezTo>
                <a:lnTo>
                  <a:pt x="0" y="34090"/>
                </a:lnTo>
                <a:cubicBezTo>
                  <a:pt x="0" y="22254"/>
                  <a:pt x="9595" y="12659"/>
                  <a:pt x="21431" y="12659"/>
                </a:cubicBezTo>
                <a:lnTo>
                  <a:pt x="71438" y="12659"/>
                </a:lnTo>
                <a:cubicBezTo>
                  <a:pt x="82042" y="12659"/>
                  <a:pt x="91051" y="20413"/>
                  <a:pt x="92631" y="30899"/>
                </a:cubicBezTo>
                <a:lnTo>
                  <a:pt x="117253" y="6277"/>
                </a:lnTo>
                <a:cubicBezTo>
                  <a:pt x="125622" y="-2092"/>
                  <a:pt x="139192" y="-2092"/>
                  <a:pt x="147561" y="6277"/>
                </a:cubicBezTo>
                <a:cubicBezTo>
                  <a:pt x="147561" y="6277"/>
                  <a:pt x="147561" y="6277"/>
                  <a:pt x="147561" y="6277"/>
                </a:cubicBezTo>
                <a:close/>
                <a:moveTo>
                  <a:pt x="14288" y="162678"/>
                </a:moveTo>
                <a:cubicBezTo>
                  <a:pt x="14288" y="166621"/>
                  <a:pt x="17488" y="169821"/>
                  <a:pt x="21431" y="169821"/>
                </a:cubicBezTo>
                <a:lnTo>
                  <a:pt x="78572" y="169812"/>
                </a:lnTo>
                <a:lnTo>
                  <a:pt x="78581" y="105518"/>
                </a:lnTo>
                <a:lnTo>
                  <a:pt x="14288" y="105518"/>
                </a:lnTo>
                <a:lnTo>
                  <a:pt x="14288" y="162668"/>
                </a:lnTo>
                <a:close/>
                <a:moveTo>
                  <a:pt x="92859" y="169812"/>
                </a:moveTo>
                <a:lnTo>
                  <a:pt x="150019" y="169812"/>
                </a:lnTo>
                <a:cubicBezTo>
                  <a:pt x="153964" y="169812"/>
                  <a:pt x="157163" y="166613"/>
                  <a:pt x="157163" y="162668"/>
                </a:cubicBezTo>
                <a:lnTo>
                  <a:pt x="157163" y="112671"/>
                </a:lnTo>
                <a:cubicBezTo>
                  <a:pt x="157163" y="108726"/>
                  <a:pt x="153964" y="105528"/>
                  <a:pt x="150019" y="105528"/>
                </a:cubicBezTo>
                <a:lnTo>
                  <a:pt x="92859" y="105528"/>
                </a:lnTo>
                <a:lnTo>
                  <a:pt x="92859" y="169821"/>
                </a:lnTo>
                <a:close/>
                <a:moveTo>
                  <a:pt x="71438" y="26937"/>
                </a:moveTo>
                <a:lnTo>
                  <a:pt x="21431" y="26937"/>
                </a:lnTo>
                <a:cubicBezTo>
                  <a:pt x="17486" y="26937"/>
                  <a:pt x="14288" y="30135"/>
                  <a:pt x="14288" y="34081"/>
                </a:cubicBezTo>
                <a:lnTo>
                  <a:pt x="14288" y="91231"/>
                </a:lnTo>
                <a:lnTo>
                  <a:pt x="78581" y="91231"/>
                </a:lnTo>
                <a:lnTo>
                  <a:pt x="78581" y="34081"/>
                </a:lnTo>
                <a:cubicBezTo>
                  <a:pt x="78581" y="30135"/>
                  <a:pt x="75383" y="26937"/>
                  <a:pt x="71438" y="26937"/>
                </a:cubicBezTo>
                <a:close/>
                <a:moveTo>
                  <a:pt x="92869" y="72752"/>
                </a:moveTo>
                <a:lnTo>
                  <a:pt x="92869" y="91231"/>
                </a:lnTo>
                <a:lnTo>
                  <a:pt x="111347" y="91231"/>
                </a:lnTo>
                <a:lnTo>
                  <a:pt x="92869" y="72752"/>
                </a:lnTo>
                <a:close/>
                <a:moveTo>
                  <a:pt x="127349" y="16383"/>
                </a:moveTo>
                <a:lnTo>
                  <a:pt x="97079" y="46654"/>
                </a:lnTo>
                <a:cubicBezTo>
                  <a:pt x="94288" y="49443"/>
                  <a:pt x="94287" y="53966"/>
                  <a:pt x="97076" y="56756"/>
                </a:cubicBezTo>
                <a:cubicBezTo>
                  <a:pt x="97077" y="56757"/>
                  <a:pt x="97078" y="56759"/>
                  <a:pt x="97079" y="56760"/>
                </a:cubicBezTo>
                <a:lnTo>
                  <a:pt x="127359" y="87040"/>
                </a:lnTo>
                <a:cubicBezTo>
                  <a:pt x="130148" y="89826"/>
                  <a:pt x="134666" y="89826"/>
                  <a:pt x="137455" y="87040"/>
                </a:cubicBezTo>
                <a:lnTo>
                  <a:pt x="167745" y="56760"/>
                </a:lnTo>
                <a:cubicBezTo>
                  <a:pt x="170531" y="53971"/>
                  <a:pt x="170531" y="49452"/>
                  <a:pt x="167745" y="46663"/>
                </a:cubicBezTo>
                <a:lnTo>
                  <a:pt x="137455" y="16374"/>
                </a:lnTo>
                <a:cubicBezTo>
                  <a:pt x="134666" y="13588"/>
                  <a:pt x="130148" y="13588"/>
                  <a:pt x="127359" y="16374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spcAft>
                <a:spcPts val="800"/>
              </a:spcAft>
            </a:pPr>
            <a:endParaRPr lang="en-US" sz="1400" i="1">
              <a:solidFill>
                <a:srgbClr val="FFFFFF"/>
              </a:solidFill>
              <a:latin typeface="Segoe Sans Display Semibold"/>
            </a:endParaRPr>
          </a:p>
        </p:txBody>
      </p:sp>
      <p:sp>
        <p:nvSpPr>
          <p:cNvPr id="71" name="Graphic 69">
            <a:extLst>
              <a:ext uri="{FF2B5EF4-FFF2-40B4-BE49-F238E27FC236}">
                <a16:creationId xmlns:a16="http://schemas.microsoft.com/office/drawing/2014/main" id="{3A5194B9-22D5-47E9-BDA0-5D14184BB51A}"/>
              </a:ext>
            </a:extLst>
          </p:cNvPr>
          <p:cNvSpPr/>
          <p:nvPr/>
        </p:nvSpPr>
        <p:spPr>
          <a:xfrm>
            <a:off x="728885" y="2524982"/>
            <a:ext cx="368872" cy="368588"/>
          </a:xfrm>
          <a:custGeom>
            <a:avLst/>
            <a:gdLst>
              <a:gd name="connsiteX0" fmla="*/ 145256 w 200025"/>
              <a:gd name="connsiteY0" fmla="*/ 0 h 199872"/>
              <a:gd name="connsiteX1" fmla="*/ 171450 w 200025"/>
              <a:gd name="connsiteY1" fmla="*/ 26194 h 199872"/>
              <a:gd name="connsiteX2" fmla="*/ 171450 w 200025"/>
              <a:gd name="connsiteY2" fmla="*/ 96717 h 199872"/>
              <a:gd name="connsiteX3" fmla="*/ 157163 w 200025"/>
              <a:gd name="connsiteY3" fmla="*/ 95488 h 199872"/>
              <a:gd name="connsiteX4" fmla="*/ 157163 w 200025"/>
              <a:gd name="connsiteY4" fmla="*/ 26194 h 199872"/>
              <a:gd name="connsiteX5" fmla="*/ 145256 w 200025"/>
              <a:gd name="connsiteY5" fmla="*/ 14288 h 199872"/>
              <a:gd name="connsiteX6" fmla="*/ 26194 w 200025"/>
              <a:gd name="connsiteY6" fmla="*/ 14288 h 199872"/>
              <a:gd name="connsiteX7" fmla="*/ 14288 w 200025"/>
              <a:gd name="connsiteY7" fmla="*/ 26194 h 199872"/>
              <a:gd name="connsiteX8" fmla="*/ 14288 w 200025"/>
              <a:gd name="connsiteY8" fmla="*/ 145256 h 199872"/>
              <a:gd name="connsiteX9" fmla="*/ 26194 w 200025"/>
              <a:gd name="connsiteY9" fmla="*/ 157163 h 199872"/>
              <a:gd name="connsiteX10" fmla="*/ 116205 w 200025"/>
              <a:gd name="connsiteY10" fmla="*/ 157163 h 199872"/>
              <a:gd name="connsiteX11" fmla="*/ 114300 w 200025"/>
              <a:gd name="connsiteY11" fmla="*/ 166535 h 199872"/>
              <a:gd name="connsiteX12" fmla="*/ 114557 w 200025"/>
              <a:gd name="connsiteY12" fmla="*/ 171450 h 199872"/>
              <a:gd name="connsiteX13" fmla="*/ 26194 w 200025"/>
              <a:gd name="connsiteY13" fmla="*/ 171450 h 199872"/>
              <a:gd name="connsiteX14" fmla="*/ 0 w 200025"/>
              <a:gd name="connsiteY14" fmla="*/ 145256 h 199872"/>
              <a:gd name="connsiteX15" fmla="*/ 0 w 200025"/>
              <a:gd name="connsiteY15" fmla="*/ 26194 h 199872"/>
              <a:gd name="connsiteX16" fmla="*/ 26194 w 200025"/>
              <a:gd name="connsiteY16" fmla="*/ 0 h 199872"/>
              <a:gd name="connsiteX17" fmla="*/ 145256 w 200025"/>
              <a:gd name="connsiteY17" fmla="*/ 0 h 199872"/>
              <a:gd name="connsiteX18" fmla="*/ 161925 w 200025"/>
              <a:gd name="connsiteY18" fmla="*/ 104623 h 199872"/>
              <a:gd name="connsiteX19" fmla="*/ 181577 w 200025"/>
              <a:gd name="connsiteY19" fmla="*/ 123051 h 199872"/>
              <a:gd name="connsiteX20" fmla="*/ 163149 w 200025"/>
              <a:gd name="connsiteY20" fmla="*/ 142703 h 199872"/>
              <a:gd name="connsiteX21" fmla="*/ 161944 w 200025"/>
              <a:gd name="connsiteY21" fmla="*/ 142704 h 199872"/>
              <a:gd name="connsiteX22" fmla="*/ 143496 w 200025"/>
              <a:gd name="connsiteY22" fmla="*/ 123070 h 199872"/>
              <a:gd name="connsiteX23" fmla="*/ 161925 w 200025"/>
              <a:gd name="connsiteY23" fmla="*/ 104623 h 199872"/>
              <a:gd name="connsiteX24" fmla="*/ 185738 w 200025"/>
              <a:gd name="connsiteY24" fmla="*/ 152248 h 199872"/>
              <a:gd name="connsiteX25" fmla="*/ 200025 w 200025"/>
              <a:gd name="connsiteY25" fmla="*/ 166535 h 199872"/>
              <a:gd name="connsiteX26" fmla="*/ 188481 w 200025"/>
              <a:gd name="connsiteY26" fmla="*/ 191433 h 199872"/>
              <a:gd name="connsiteX27" fmla="*/ 161925 w 200025"/>
              <a:gd name="connsiteY27" fmla="*/ 199873 h 199872"/>
              <a:gd name="connsiteX28" fmla="*/ 135369 w 200025"/>
              <a:gd name="connsiteY28" fmla="*/ 191433 h 199872"/>
              <a:gd name="connsiteX29" fmla="*/ 124149 w 200025"/>
              <a:gd name="connsiteY29" fmla="*/ 171450 h 199872"/>
              <a:gd name="connsiteX30" fmla="*/ 123825 w 200025"/>
              <a:gd name="connsiteY30" fmla="*/ 166535 h 199872"/>
              <a:gd name="connsiteX31" fmla="*/ 138055 w 200025"/>
              <a:gd name="connsiteY31" fmla="*/ 152248 h 199872"/>
              <a:gd name="connsiteX32" fmla="*/ 138113 w 200025"/>
              <a:gd name="connsiteY32" fmla="*/ 152248 h 199872"/>
              <a:gd name="connsiteX33" fmla="*/ 185738 w 200025"/>
              <a:gd name="connsiteY33" fmla="*/ 152248 h 199872"/>
              <a:gd name="connsiteX34" fmla="*/ 66675 w 200025"/>
              <a:gd name="connsiteY34" fmla="*/ 108956 h 199872"/>
              <a:gd name="connsiteX35" fmla="*/ 128302 w 200025"/>
              <a:gd name="connsiteY35" fmla="*/ 47330 h 199872"/>
              <a:gd name="connsiteX36" fmla="*/ 138405 w 200025"/>
              <a:gd name="connsiteY36" fmla="*/ 47316 h 199872"/>
              <a:gd name="connsiteX37" fmla="*/ 139094 w 200025"/>
              <a:gd name="connsiteY37" fmla="*/ 56636 h 199872"/>
              <a:gd name="connsiteX38" fmla="*/ 138398 w 200025"/>
              <a:gd name="connsiteY38" fmla="*/ 57436 h 199872"/>
              <a:gd name="connsiteX39" fmla="*/ 71723 w 200025"/>
              <a:gd name="connsiteY39" fmla="*/ 124111 h 199872"/>
              <a:gd name="connsiteX40" fmla="*/ 62427 w 200025"/>
              <a:gd name="connsiteY40" fmla="*/ 124806 h 199872"/>
              <a:gd name="connsiteX41" fmla="*/ 61627 w 200025"/>
              <a:gd name="connsiteY41" fmla="*/ 124111 h 199872"/>
              <a:gd name="connsiteX42" fmla="*/ 33052 w 200025"/>
              <a:gd name="connsiteY42" fmla="*/ 95536 h 199872"/>
              <a:gd name="connsiteX43" fmla="*/ 33091 w 200025"/>
              <a:gd name="connsiteY43" fmla="*/ 85433 h 199872"/>
              <a:gd name="connsiteX44" fmla="*/ 42348 w 200025"/>
              <a:gd name="connsiteY44" fmla="*/ 84744 h 199872"/>
              <a:gd name="connsiteX45" fmla="*/ 43148 w 200025"/>
              <a:gd name="connsiteY45" fmla="*/ 85439 h 199872"/>
              <a:gd name="connsiteX46" fmla="*/ 66675 w 200025"/>
              <a:gd name="connsiteY46" fmla="*/ 108966 h 199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00025" h="199872">
                <a:moveTo>
                  <a:pt x="145256" y="0"/>
                </a:moveTo>
                <a:cubicBezTo>
                  <a:pt x="159723" y="0"/>
                  <a:pt x="171450" y="11727"/>
                  <a:pt x="171450" y="26194"/>
                </a:cubicBezTo>
                <a:lnTo>
                  <a:pt x="171450" y="96717"/>
                </a:lnTo>
                <a:cubicBezTo>
                  <a:pt x="166869" y="95099"/>
                  <a:pt x="161952" y="94676"/>
                  <a:pt x="157163" y="95488"/>
                </a:cubicBezTo>
                <a:lnTo>
                  <a:pt x="157163" y="26194"/>
                </a:lnTo>
                <a:cubicBezTo>
                  <a:pt x="157163" y="19622"/>
                  <a:pt x="151829" y="14288"/>
                  <a:pt x="145256" y="14288"/>
                </a:cubicBezTo>
                <a:lnTo>
                  <a:pt x="26194" y="14288"/>
                </a:lnTo>
                <a:cubicBezTo>
                  <a:pt x="19622" y="14288"/>
                  <a:pt x="14288" y="19622"/>
                  <a:pt x="14288" y="26194"/>
                </a:cubicBezTo>
                <a:lnTo>
                  <a:pt x="14288" y="145256"/>
                </a:lnTo>
                <a:cubicBezTo>
                  <a:pt x="14288" y="151829"/>
                  <a:pt x="19622" y="157163"/>
                  <a:pt x="26194" y="157163"/>
                </a:cubicBezTo>
                <a:lnTo>
                  <a:pt x="116205" y="157163"/>
                </a:lnTo>
                <a:cubicBezTo>
                  <a:pt x="114986" y="160039"/>
                  <a:pt x="114300" y="163201"/>
                  <a:pt x="114300" y="166535"/>
                </a:cubicBezTo>
                <a:cubicBezTo>
                  <a:pt x="114300" y="168202"/>
                  <a:pt x="114395" y="169850"/>
                  <a:pt x="114557" y="171450"/>
                </a:cubicBezTo>
                <a:lnTo>
                  <a:pt x="26194" y="171450"/>
                </a:lnTo>
                <a:cubicBezTo>
                  <a:pt x="11727" y="171450"/>
                  <a:pt x="0" y="159723"/>
                  <a:pt x="0" y="145256"/>
                </a:cubicBezTo>
                <a:lnTo>
                  <a:pt x="0" y="26194"/>
                </a:lnTo>
                <a:cubicBezTo>
                  <a:pt x="0" y="11727"/>
                  <a:pt x="11727" y="0"/>
                  <a:pt x="26194" y="0"/>
                </a:cubicBezTo>
                <a:lnTo>
                  <a:pt x="145256" y="0"/>
                </a:lnTo>
                <a:close/>
                <a:moveTo>
                  <a:pt x="161925" y="104623"/>
                </a:moveTo>
                <a:cubicBezTo>
                  <a:pt x="172441" y="104284"/>
                  <a:pt x="181239" y="112535"/>
                  <a:pt x="181577" y="123051"/>
                </a:cubicBezTo>
                <a:cubicBezTo>
                  <a:pt x="181915" y="133566"/>
                  <a:pt x="173665" y="142365"/>
                  <a:pt x="163149" y="142703"/>
                </a:cubicBezTo>
                <a:cubicBezTo>
                  <a:pt x="162747" y="142716"/>
                  <a:pt x="162345" y="142716"/>
                  <a:pt x="161944" y="142704"/>
                </a:cubicBezTo>
                <a:cubicBezTo>
                  <a:pt x="151428" y="142376"/>
                  <a:pt x="143168" y="133586"/>
                  <a:pt x="143496" y="123070"/>
                </a:cubicBezTo>
                <a:cubicBezTo>
                  <a:pt x="143808" y="113022"/>
                  <a:pt x="151877" y="104946"/>
                  <a:pt x="161925" y="104623"/>
                </a:cubicBezTo>
                <a:close/>
                <a:moveTo>
                  <a:pt x="185738" y="152248"/>
                </a:moveTo>
                <a:cubicBezTo>
                  <a:pt x="193628" y="152248"/>
                  <a:pt x="200025" y="158645"/>
                  <a:pt x="200025" y="166535"/>
                </a:cubicBezTo>
                <a:cubicBezTo>
                  <a:pt x="200025" y="177165"/>
                  <a:pt x="195653" y="185680"/>
                  <a:pt x="188481" y="191433"/>
                </a:cubicBezTo>
                <a:cubicBezTo>
                  <a:pt x="181423" y="197101"/>
                  <a:pt x="171955" y="199873"/>
                  <a:pt x="161925" y="199873"/>
                </a:cubicBezTo>
                <a:cubicBezTo>
                  <a:pt x="151895" y="199873"/>
                  <a:pt x="142427" y="197110"/>
                  <a:pt x="135369" y="191433"/>
                </a:cubicBezTo>
                <a:cubicBezTo>
                  <a:pt x="129162" y="186495"/>
                  <a:pt x="125135" y="179321"/>
                  <a:pt x="124149" y="171450"/>
                </a:cubicBezTo>
                <a:cubicBezTo>
                  <a:pt x="123931" y="169821"/>
                  <a:pt x="123822" y="168179"/>
                  <a:pt x="123825" y="166535"/>
                </a:cubicBezTo>
                <a:cubicBezTo>
                  <a:pt x="123809" y="158660"/>
                  <a:pt x="130180" y="152264"/>
                  <a:pt x="138055" y="152248"/>
                </a:cubicBezTo>
                <a:cubicBezTo>
                  <a:pt x="138074" y="152248"/>
                  <a:pt x="138093" y="152248"/>
                  <a:pt x="138113" y="152248"/>
                </a:cubicBezTo>
                <a:lnTo>
                  <a:pt x="185738" y="152248"/>
                </a:lnTo>
                <a:close/>
                <a:moveTo>
                  <a:pt x="66675" y="108956"/>
                </a:moveTo>
                <a:lnTo>
                  <a:pt x="128302" y="47330"/>
                </a:lnTo>
                <a:cubicBezTo>
                  <a:pt x="131088" y="44536"/>
                  <a:pt x="135611" y="44530"/>
                  <a:pt x="138405" y="47316"/>
                </a:cubicBezTo>
                <a:cubicBezTo>
                  <a:pt x="140916" y="49821"/>
                  <a:pt x="141209" y="53789"/>
                  <a:pt x="139094" y="56636"/>
                </a:cubicBezTo>
                <a:lnTo>
                  <a:pt x="138398" y="57436"/>
                </a:lnTo>
                <a:lnTo>
                  <a:pt x="71723" y="124111"/>
                </a:lnTo>
                <a:cubicBezTo>
                  <a:pt x="69224" y="126611"/>
                  <a:pt x="65271" y="126906"/>
                  <a:pt x="62427" y="124806"/>
                </a:cubicBezTo>
                <a:lnTo>
                  <a:pt x="61627" y="124111"/>
                </a:lnTo>
                <a:lnTo>
                  <a:pt x="33052" y="95536"/>
                </a:lnTo>
                <a:cubicBezTo>
                  <a:pt x="30273" y="92735"/>
                  <a:pt x="30291" y="88212"/>
                  <a:pt x="33091" y="85433"/>
                </a:cubicBezTo>
                <a:cubicBezTo>
                  <a:pt x="35587" y="82957"/>
                  <a:pt x="39513" y="82665"/>
                  <a:pt x="42348" y="84744"/>
                </a:cubicBezTo>
                <a:lnTo>
                  <a:pt x="43148" y="85439"/>
                </a:lnTo>
                <a:lnTo>
                  <a:pt x="66675" y="108966"/>
                </a:ln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spcAft>
                <a:spcPts val="800"/>
              </a:spcAft>
            </a:pPr>
            <a:endParaRPr lang="en-US" sz="1400" i="1">
              <a:solidFill>
                <a:srgbClr val="FFFFFF"/>
              </a:solidFill>
              <a:latin typeface="Segoe Sans Display Semibold"/>
            </a:endParaRPr>
          </a:p>
        </p:txBody>
      </p:sp>
      <p:sp>
        <p:nvSpPr>
          <p:cNvPr id="74" name="Graphic 72">
            <a:extLst>
              <a:ext uri="{FF2B5EF4-FFF2-40B4-BE49-F238E27FC236}">
                <a16:creationId xmlns:a16="http://schemas.microsoft.com/office/drawing/2014/main" id="{42C5D7A0-6B36-BCBD-921D-0EF7E37DB695}"/>
              </a:ext>
            </a:extLst>
          </p:cNvPr>
          <p:cNvSpPr/>
          <p:nvPr/>
        </p:nvSpPr>
        <p:spPr>
          <a:xfrm>
            <a:off x="697927" y="3592565"/>
            <a:ext cx="430786" cy="430786"/>
          </a:xfrm>
          <a:custGeom>
            <a:avLst/>
            <a:gdLst>
              <a:gd name="connsiteX0" fmla="*/ 56521 w 190500"/>
              <a:gd name="connsiteY0" fmla="*/ 133979 h 190500"/>
              <a:gd name="connsiteX1" fmla="*/ 56878 w 190500"/>
              <a:gd name="connsiteY1" fmla="*/ 144075 h 190500"/>
              <a:gd name="connsiteX2" fmla="*/ 46781 w 190500"/>
              <a:gd name="connsiteY2" fmla="*/ 144431 h 190500"/>
              <a:gd name="connsiteX3" fmla="*/ 46425 w 190500"/>
              <a:gd name="connsiteY3" fmla="*/ 144075 h 190500"/>
              <a:gd name="connsiteX4" fmla="*/ 46430 w 190500"/>
              <a:gd name="connsiteY4" fmla="*/ 46415 h 190500"/>
              <a:gd name="connsiteX5" fmla="*/ 111176 w 190500"/>
              <a:gd name="connsiteY5" fmla="*/ 28051 h 190500"/>
              <a:gd name="connsiteX6" fmla="*/ 116536 w 190500"/>
              <a:gd name="connsiteY6" fmla="*/ 36614 h 190500"/>
              <a:gd name="connsiteX7" fmla="*/ 107974 w 190500"/>
              <a:gd name="connsiteY7" fmla="*/ 41975 h 190500"/>
              <a:gd name="connsiteX8" fmla="*/ 107899 w 190500"/>
              <a:gd name="connsiteY8" fmla="*/ 41958 h 190500"/>
              <a:gd name="connsiteX9" fmla="*/ 41965 w 190500"/>
              <a:gd name="connsiteY9" fmla="*/ 82601 h 190500"/>
              <a:gd name="connsiteX10" fmla="*/ 56531 w 190500"/>
              <a:gd name="connsiteY10" fmla="*/ 133979 h 190500"/>
              <a:gd name="connsiteX11" fmla="*/ 151333 w 190500"/>
              <a:gd name="connsiteY11" fmla="*/ 68028 h 190500"/>
              <a:gd name="connsiteX12" fmla="*/ 160430 w 190500"/>
              <a:gd name="connsiteY12" fmla="*/ 72409 h 190500"/>
              <a:gd name="connsiteX13" fmla="*/ 144085 w 190500"/>
              <a:gd name="connsiteY13" fmla="*/ 144075 h 190500"/>
              <a:gd name="connsiteX14" fmla="*/ 133983 w 190500"/>
              <a:gd name="connsiteY14" fmla="*/ 144255 h 190500"/>
              <a:gd name="connsiteX15" fmla="*/ 133803 w 190500"/>
              <a:gd name="connsiteY15" fmla="*/ 134154 h 190500"/>
              <a:gd name="connsiteX16" fmla="*/ 133979 w 190500"/>
              <a:gd name="connsiteY16" fmla="*/ 133979 h 190500"/>
              <a:gd name="connsiteX17" fmla="*/ 146952 w 190500"/>
              <a:gd name="connsiteY17" fmla="*/ 77124 h 190500"/>
              <a:gd name="connsiteX18" fmla="*/ 151333 w 190500"/>
              <a:gd name="connsiteY18" fmla="*/ 68028 h 190500"/>
              <a:gd name="connsiteX19" fmla="*/ 132197 w 190500"/>
              <a:gd name="connsiteY19" fmla="*/ 44453 h 190500"/>
              <a:gd name="connsiteX20" fmla="*/ 140591 w 190500"/>
              <a:gd name="connsiteY20" fmla="*/ 45106 h 190500"/>
              <a:gd name="connsiteX21" fmla="*/ 141361 w 190500"/>
              <a:gd name="connsiteY21" fmla="*/ 51702 h 190500"/>
              <a:gd name="connsiteX22" fmla="*/ 140122 w 190500"/>
              <a:gd name="connsiteY22" fmla="*/ 54083 h 190500"/>
              <a:gd name="connsiteX23" fmla="*/ 126644 w 190500"/>
              <a:gd name="connsiteY23" fmla="*/ 79924 h 190500"/>
              <a:gd name="connsiteX24" fmla="*/ 115634 w 190500"/>
              <a:gd name="connsiteY24" fmla="*/ 100470 h 190500"/>
              <a:gd name="connsiteX25" fmla="*/ 111328 w 190500"/>
              <a:gd name="connsiteY25" fmla="*/ 108118 h 190500"/>
              <a:gd name="connsiteX26" fmla="*/ 108280 w 190500"/>
              <a:gd name="connsiteY26" fmla="*/ 112881 h 190500"/>
              <a:gd name="connsiteX27" fmla="*/ 83147 w 190500"/>
              <a:gd name="connsiteY27" fmla="*/ 115378 h 190500"/>
              <a:gd name="connsiteX28" fmla="*/ 80277 w 190500"/>
              <a:gd name="connsiteY28" fmla="*/ 90716 h 190500"/>
              <a:gd name="connsiteX29" fmla="*/ 84211 w 190500"/>
              <a:gd name="connsiteY29" fmla="*/ 86668 h 190500"/>
              <a:gd name="connsiteX30" fmla="*/ 90668 w 190500"/>
              <a:gd name="connsiteY30" fmla="*/ 80715 h 190500"/>
              <a:gd name="connsiteX31" fmla="*/ 108118 w 190500"/>
              <a:gd name="connsiteY31" fmla="*/ 65284 h 190500"/>
              <a:gd name="connsiteX32" fmla="*/ 130159 w 190500"/>
              <a:gd name="connsiteY32" fmla="*/ 46206 h 190500"/>
              <a:gd name="connsiteX33" fmla="*/ 132197 w 190500"/>
              <a:gd name="connsiteY33" fmla="*/ 44453 h 190500"/>
              <a:gd name="connsiteX34" fmla="*/ 190500 w 190500"/>
              <a:gd name="connsiteY34" fmla="*/ 95250 h 190500"/>
              <a:gd name="connsiteX35" fmla="*/ 95250 w 190500"/>
              <a:gd name="connsiteY35" fmla="*/ 190500 h 190500"/>
              <a:gd name="connsiteX36" fmla="*/ 0 w 190500"/>
              <a:gd name="connsiteY36" fmla="*/ 95250 h 190500"/>
              <a:gd name="connsiteX37" fmla="*/ 95250 w 190500"/>
              <a:gd name="connsiteY37" fmla="*/ 0 h 190500"/>
              <a:gd name="connsiteX38" fmla="*/ 190500 w 190500"/>
              <a:gd name="connsiteY38" fmla="*/ 95250 h 190500"/>
              <a:gd name="connsiteX39" fmla="*/ 14288 w 190500"/>
              <a:gd name="connsiteY39" fmla="*/ 95250 h 190500"/>
              <a:gd name="connsiteX40" fmla="*/ 95250 w 190500"/>
              <a:gd name="connsiteY40" fmla="*/ 176213 h 190500"/>
              <a:gd name="connsiteX41" fmla="*/ 176213 w 190500"/>
              <a:gd name="connsiteY41" fmla="*/ 95250 h 190500"/>
              <a:gd name="connsiteX42" fmla="*/ 95250 w 190500"/>
              <a:gd name="connsiteY42" fmla="*/ 14288 h 190500"/>
              <a:gd name="connsiteX43" fmla="*/ 14288 w 190500"/>
              <a:gd name="connsiteY43" fmla="*/ 9525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90500" h="190500">
                <a:moveTo>
                  <a:pt x="56521" y="133979"/>
                </a:moveTo>
                <a:cubicBezTo>
                  <a:pt x="59408" y="136669"/>
                  <a:pt x="59567" y="141189"/>
                  <a:pt x="56878" y="144075"/>
                </a:cubicBezTo>
                <a:cubicBezTo>
                  <a:pt x="54188" y="146961"/>
                  <a:pt x="49668" y="147121"/>
                  <a:pt x="46781" y="144431"/>
                </a:cubicBezTo>
                <a:cubicBezTo>
                  <a:pt x="46658" y="144317"/>
                  <a:pt x="46539" y="144198"/>
                  <a:pt x="46425" y="144075"/>
                </a:cubicBezTo>
                <a:cubicBezTo>
                  <a:pt x="19458" y="117105"/>
                  <a:pt x="19461" y="73382"/>
                  <a:pt x="46430" y="46415"/>
                </a:cubicBezTo>
                <a:cubicBezTo>
                  <a:pt x="63367" y="29480"/>
                  <a:pt x="87870" y="22530"/>
                  <a:pt x="111176" y="28051"/>
                </a:cubicBezTo>
                <a:cubicBezTo>
                  <a:pt x="115021" y="28935"/>
                  <a:pt x="117421" y="32769"/>
                  <a:pt x="116536" y="36614"/>
                </a:cubicBezTo>
                <a:cubicBezTo>
                  <a:pt x="115653" y="40459"/>
                  <a:pt x="111819" y="42859"/>
                  <a:pt x="107974" y="41975"/>
                </a:cubicBezTo>
                <a:cubicBezTo>
                  <a:pt x="107949" y="41969"/>
                  <a:pt x="107924" y="41964"/>
                  <a:pt x="107899" y="41958"/>
                </a:cubicBezTo>
                <a:cubicBezTo>
                  <a:pt x="78469" y="34974"/>
                  <a:pt x="48949" y="53170"/>
                  <a:pt x="41965" y="82601"/>
                </a:cubicBezTo>
                <a:cubicBezTo>
                  <a:pt x="37576" y="101094"/>
                  <a:pt x="43089" y="120541"/>
                  <a:pt x="56531" y="133979"/>
                </a:cubicBezTo>
                <a:close/>
                <a:moveTo>
                  <a:pt x="151333" y="68028"/>
                </a:moveTo>
                <a:cubicBezTo>
                  <a:pt x="155055" y="66728"/>
                  <a:pt x="159126" y="68689"/>
                  <a:pt x="160430" y="72409"/>
                </a:cubicBezTo>
                <a:cubicBezTo>
                  <a:pt x="169204" y="97454"/>
                  <a:pt x="162851" y="125312"/>
                  <a:pt x="144085" y="144075"/>
                </a:cubicBezTo>
                <a:cubicBezTo>
                  <a:pt x="141345" y="146915"/>
                  <a:pt x="136823" y="146995"/>
                  <a:pt x="133983" y="144255"/>
                </a:cubicBezTo>
                <a:cubicBezTo>
                  <a:pt x="131144" y="141516"/>
                  <a:pt x="131064" y="136993"/>
                  <a:pt x="133803" y="134154"/>
                </a:cubicBezTo>
                <a:cubicBezTo>
                  <a:pt x="133861" y="134095"/>
                  <a:pt x="133920" y="134036"/>
                  <a:pt x="133979" y="133979"/>
                </a:cubicBezTo>
                <a:cubicBezTo>
                  <a:pt x="148872" y="119096"/>
                  <a:pt x="153915" y="96994"/>
                  <a:pt x="146952" y="77124"/>
                </a:cubicBezTo>
                <a:cubicBezTo>
                  <a:pt x="145652" y="73402"/>
                  <a:pt x="147613" y="69331"/>
                  <a:pt x="151333" y="68028"/>
                </a:cubicBezTo>
                <a:close/>
                <a:moveTo>
                  <a:pt x="132197" y="44453"/>
                </a:moveTo>
                <a:cubicBezTo>
                  <a:pt x="134696" y="42316"/>
                  <a:pt x="138454" y="42608"/>
                  <a:pt x="140591" y="45106"/>
                </a:cubicBezTo>
                <a:cubicBezTo>
                  <a:pt x="142163" y="46944"/>
                  <a:pt x="142468" y="49551"/>
                  <a:pt x="141361" y="51702"/>
                </a:cubicBezTo>
                <a:lnTo>
                  <a:pt x="140122" y="54083"/>
                </a:lnTo>
                <a:cubicBezTo>
                  <a:pt x="135666" y="62716"/>
                  <a:pt x="131174" y="71330"/>
                  <a:pt x="126644" y="79924"/>
                </a:cubicBezTo>
                <a:cubicBezTo>
                  <a:pt x="123029" y="86801"/>
                  <a:pt x="119358" y="93651"/>
                  <a:pt x="115634" y="100470"/>
                </a:cubicBezTo>
                <a:cubicBezTo>
                  <a:pt x="114005" y="103422"/>
                  <a:pt x="112528" y="106051"/>
                  <a:pt x="111328" y="108118"/>
                </a:cubicBezTo>
                <a:cubicBezTo>
                  <a:pt x="110408" y="109765"/>
                  <a:pt x="109390" y="111356"/>
                  <a:pt x="108280" y="112881"/>
                </a:cubicBezTo>
                <a:cubicBezTo>
                  <a:pt x="102030" y="120511"/>
                  <a:pt x="90777" y="121629"/>
                  <a:pt x="83147" y="115378"/>
                </a:cubicBezTo>
                <a:cubicBezTo>
                  <a:pt x="75698" y="109277"/>
                  <a:pt x="74428" y="98367"/>
                  <a:pt x="80277" y="90716"/>
                </a:cubicBezTo>
                <a:cubicBezTo>
                  <a:pt x="81096" y="89678"/>
                  <a:pt x="82601" y="88192"/>
                  <a:pt x="84211" y="86668"/>
                </a:cubicBezTo>
                <a:cubicBezTo>
                  <a:pt x="85944" y="85020"/>
                  <a:pt x="88154" y="82982"/>
                  <a:pt x="90668" y="80715"/>
                </a:cubicBezTo>
                <a:cubicBezTo>
                  <a:pt x="96444" y="75525"/>
                  <a:pt x="102261" y="70382"/>
                  <a:pt x="108118" y="65284"/>
                </a:cubicBezTo>
                <a:cubicBezTo>
                  <a:pt x="115439" y="58895"/>
                  <a:pt x="122786" y="52535"/>
                  <a:pt x="130159" y="46206"/>
                </a:cubicBezTo>
                <a:lnTo>
                  <a:pt x="132197" y="44453"/>
                </a:lnTo>
                <a:close/>
                <a:moveTo>
                  <a:pt x="190500" y="95250"/>
                </a:moveTo>
                <a:cubicBezTo>
                  <a:pt x="190500" y="147857"/>
                  <a:pt x="147857" y="190500"/>
                  <a:pt x="95250" y="190500"/>
                </a:cubicBezTo>
                <a:cubicBezTo>
                  <a:pt x="42643" y="190500"/>
                  <a:pt x="0" y="147857"/>
                  <a:pt x="0" y="95250"/>
                </a:cubicBezTo>
                <a:cubicBezTo>
                  <a:pt x="0" y="42643"/>
                  <a:pt x="42643" y="0"/>
                  <a:pt x="95250" y="0"/>
                </a:cubicBezTo>
                <a:cubicBezTo>
                  <a:pt x="147857" y="0"/>
                  <a:pt x="190500" y="42643"/>
                  <a:pt x="190500" y="95250"/>
                </a:cubicBezTo>
                <a:close/>
                <a:moveTo>
                  <a:pt x="14288" y="95250"/>
                </a:moveTo>
                <a:cubicBezTo>
                  <a:pt x="14288" y="139964"/>
                  <a:pt x="50536" y="176213"/>
                  <a:pt x="95250" y="176213"/>
                </a:cubicBezTo>
                <a:cubicBezTo>
                  <a:pt x="139964" y="176213"/>
                  <a:pt x="176213" y="139964"/>
                  <a:pt x="176213" y="95250"/>
                </a:cubicBezTo>
                <a:cubicBezTo>
                  <a:pt x="176213" y="50536"/>
                  <a:pt x="139964" y="14288"/>
                  <a:pt x="95250" y="14288"/>
                </a:cubicBezTo>
                <a:cubicBezTo>
                  <a:pt x="50536" y="14288"/>
                  <a:pt x="14288" y="50536"/>
                  <a:pt x="14288" y="95250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spcAft>
                <a:spcPts val="800"/>
              </a:spcAft>
            </a:pPr>
            <a:endParaRPr lang="en-US" sz="1400" i="1">
              <a:solidFill>
                <a:srgbClr val="FFFFFF"/>
              </a:solidFill>
              <a:latin typeface="Segoe Sans Display Semibold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7F293641-7761-2627-6CE9-0B6CCD6EF4AD}"/>
              </a:ext>
            </a:extLst>
          </p:cNvPr>
          <p:cNvSpPr/>
          <p:nvPr/>
        </p:nvSpPr>
        <p:spPr>
          <a:xfrm>
            <a:off x="721742" y="4715080"/>
            <a:ext cx="383158" cy="383120"/>
          </a:xfrm>
          <a:custGeom>
            <a:avLst/>
            <a:gdLst>
              <a:gd name="connsiteX0" fmla="*/ 155734 w 199997"/>
              <a:gd name="connsiteY0" fmla="*/ 120416 h 199978"/>
              <a:gd name="connsiteX1" fmla="*/ 149000 w 199997"/>
              <a:gd name="connsiteY1" fmla="*/ 120533 h 199978"/>
              <a:gd name="connsiteX2" fmla="*/ 149000 w 199997"/>
              <a:gd name="connsiteY2" fmla="*/ 127150 h 199978"/>
              <a:gd name="connsiteX3" fmla="*/ 164688 w 199997"/>
              <a:gd name="connsiteY3" fmla="*/ 142828 h 199978"/>
              <a:gd name="connsiteX4" fmla="*/ 123797 w 199997"/>
              <a:gd name="connsiteY4" fmla="*/ 142828 h 199978"/>
              <a:gd name="connsiteX5" fmla="*/ 119035 w 199997"/>
              <a:gd name="connsiteY5" fmla="*/ 147591 h 199978"/>
              <a:gd name="connsiteX6" fmla="*/ 123797 w 199997"/>
              <a:gd name="connsiteY6" fmla="*/ 152353 h 199978"/>
              <a:gd name="connsiteX7" fmla="*/ 164688 w 199997"/>
              <a:gd name="connsiteY7" fmla="*/ 152353 h 199978"/>
              <a:gd name="connsiteX8" fmla="*/ 149000 w 199997"/>
              <a:gd name="connsiteY8" fmla="*/ 168041 h 199978"/>
              <a:gd name="connsiteX9" fmla="*/ 149117 w 199997"/>
              <a:gd name="connsiteY9" fmla="*/ 174775 h 199978"/>
              <a:gd name="connsiteX10" fmla="*/ 155734 w 199997"/>
              <a:gd name="connsiteY10" fmla="*/ 174775 h 199978"/>
              <a:gd name="connsiteX11" fmla="*/ 179547 w 199997"/>
              <a:gd name="connsiteY11" fmla="*/ 150962 h 199978"/>
              <a:gd name="connsiteX12" fmla="*/ 180947 w 199997"/>
              <a:gd name="connsiteY12" fmla="*/ 147676 h 199978"/>
              <a:gd name="connsiteX13" fmla="*/ 180947 w 199997"/>
              <a:gd name="connsiteY13" fmla="*/ 147591 h 199978"/>
              <a:gd name="connsiteX14" fmla="*/ 179518 w 199997"/>
              <a:gd name="connsiteY14" fmla="*/ 144190 h 199978"/>
              <a:gd name="connsiteX15" fmla="*/ 21422 w 199997"/>
              <a:gd name="connsiteY15" fmla="*/ 114252 h 199978"/>
              <a:gd name="connsiteX16" fmla="*/ 95431 w 199997"/>
              <a:gd name="connsiteY16" fmla="*/ 114252 h 199978"/>
              <a:gd name="connsiteX17" fmla="*/ 88678 w 199997"/>
              <a:gd name="connsiteY17" fmla="*/ 128540 h 199978"/>
              <a:gd name="connsiteX18" fmla="*/ 21431 w 199997"/>
              <a:gd name="connsiteY18" fmla="*/ 128540 h 199978"/>
              <a:gd name="connsiteX19" fmla="*/ 14288 w 199997"/>
              <a:gd name="connsiteY19" fmla="*/ 135674 h 199978"/>
              <a:gd name="connsiteX20" fmla="*/ 14288 w 199997"/>
              <a:gd name="connsiteY20" fmla="*/ 141180 h 199978"/>
              <a:gd name="connsiteX21" fmla="*/ 19421 w 199997"/>
              <a:gd name="connsiteY21" fmla="*/ 155096 h 199978"/>
              <a:gd name="connsiteX22" fmla="*/ 76162 w 199997"/>
              <a:gd name="connsiteY22" fmla="*/ 176174 h 199978"/>
              <a:gd name="connsiteX23" fmla="*/ 92164 w 199997"/>
              <a:gd name="connsiteY23" fmla="*/ 175174 h 199978"/>
              <a:gd name="connsiteX24" fmla="*/ 100860 w 199997"/>
              <a:gd name="connsiteY24" fmla="*/ 188185 h 199978"/>
              <a:gd name="connsiteX25" fmla="*/ 76171 w 199997"/>
              <a:gd name="connsiteY25" fmla="*/ 190471 h 199978"/>
              <a:gd name="connsiteX26" fmla="*/ 8563 w 199997"/>
              <a:gd name="connsiteY26" fmla="*/ 164373 h 199978"/>
              <a:gd name="connsiteX27" fmla="*/ 0 w 199997"/>
              <a:gd name="connsiteY27" fmla="*/ 141180 h 199978"/>
              <a:gd name="connsiteX28" fmla="*/ 0 w 199997"/>
              <a:gd name="connsiteY28" fmla="*/ 135684 h 199978"/>
              <a:gd name="connsiteX29" fmla="*/ 0 w 199997"/>
              <a:gd name="connsiteY29" fmla="*/ 135674 h 199978"/>
              <a:gd name="connsiteX30" fmla="*/ 21422 w 199997"/>
              <a:gd name="connsiteY30" fmla="*/ 114252 h 199978"/>
              <a:gd name="connsiteX31" fmla="*/ 147610 w 199997"/>
              <a:gd name="connsiteY31" fmla="*/ 95203 h 199978"/>
              <a:gd name="connsiteX32" fmla="*/ 199997 w 199997"/>
              <a:gd name="connsiteY32" fmla="*/ 147591 h 199978"/>
              <a:gd name="connsiteX33" fmla="*/ 147610 w 199997"/>
              <a:gd name="connsiteY33" fmla="*/ 199978 h 199978"/>
              <a:gd name="connsiteX34" fmla="*/ 95222 w 199997"/>
              <a:gd name="connsiteY34" fmla="*/ 147591 h 199978"/>
              <a:gd name="connsiteX35" fmla="*/ 147610 w 199997"/>
              <a:gd name="connsiteY35" fmla="*/ 95203 h 199978"/>
              <a:gd name="connsiteX36" fmla="*/ 76171 w 199997"/>
              <a:gd name="connsiteY36" fmla="*/ 14288 h 199978"/>
              <a:gd name="connsiteX37" fmla="*/ 42834 w 199997"/>
              <a:gd name="connsiteY37" fmla="*/ 47625 h 199978"/>
              <a:gd name="connsiteX38" fmla="*/ 76171 w 199997"/>
              <a:gd name="connsiteY38" fmla="*/ 80963 h 199978"/>
              <a:gd name="connsiteX39" fmla="*/ 109509 w 199997"/>
              <a:gd name="connsiteY39" fmla="*/ 47625 h 199978"/>
              <a:gd name="connsiteX40" fmla="*/ 76171 w 199997"/>
              <a:gd name="connsiteY40" fmla="*/ 14288 h 199978"/>
              <a:gd name="connsiteX41" fmla="*/ 76171 w 199997"/>
              <a:gd name="connsiteY41" fmla="*/ 0 h 199978"/>
              <a:gd name="connsiteX42" fmla="*/ 123796 w 199997"/>
              <a:gd name="connsiteY42" fmla="*/ 47625 h 199978"/>
              <a:gd name="connsiteX43" fmla="*/ 76171 w 199997"/>
              <a:gd name="connsiteY43" fmla="*/ 95250 h 199978"/>
              <a:gd name="connsiteX44" fmla="*/ 28546 w 199997"/>
              <a:gd name="connsiteY44" fmla="*/ 47625 h 199978"/>
              <a:gd name="connsiteX45" fmla="*/ 76171 w 199997"/>
              <a:gd name="connsiteY45" fmla="*/ 0 h 19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99997" h="199978">
                <a:moveTo>
                  <a:pt x="155734" y="120416"/>
                </a:moveTo>
                <a:cubicBezTo>
                  <a:pt x="153843" y="118589"/>
                  <a:pt x="150827" y="118641"/>
                  <a:pt x="149000" y="120533"/>
                </a:cubicBezTo>
                <a:cubicBezTo>
                  <a:pt x="147218" y="122379"/>
                  <a:pt x="147218" y="125304"/>
                  <a:pt x="149000" y="127150"/>
                </a:cubicBezTo>
                <a:lnTo>
                  <a:pt x="164688" y="142828"/>
                </a:lnTo>
                <a:lnTo>
                  <a:pt x="123797" y="142828"/>
                </a:lnTo>
                <a:cubicBezTo>
                  <a:pt x="121167" y="142828"/>
                  <a:pt x="119035" y="144961"/>
                  <a:pt x="119035" y="147591"/>
                </a:cubicBezTo>
                <a:cubicBezTo>
                  <a:pt x="119035" y="150220"/>
                  <a:pt x="121167" y="152353"/>
                  <a:pt x="123797" y="152353"/>
                </a:cubicBezTo>
                <a:lnTo>
                  <a:pt x="164688" y="152353"/>
                </a:lnTo>
                <a:lnTo>
                  <a:pt x="149000" y="168041"/>
                </a:lnTo>
                <a:cubicBezTo>
                  <a:pt x="147173" y="169932"/>
                  <a:pt x="147226" y="172948"/>
                  <a:pt x="149117" y="174775"/>
                </a:cubicBezTo>
                <a:cubicBezTo>
                  <a:pt x="150963" y="176557"/>
                  <a:pt x="153888" y="176557"/>
                  <a:pt x="155734" y="174775"/>
                </a:cubicBezTo>
                <a:lnTo>
                  <a:pt x="179547" y="150962"/>
                </a:lnTo>
                <a:cubicBezTo>
                  <a:pt x="180425" y="150092"/>
                  <a:pt x="180927" y="148913"/>
                  <a:pt x="180947" y="147676"/>
                </a:cubicBezTo>
                <a:lnTo>
                  <a:pt x="180947" y="147591"/>
                </a:lnTo>
                <a:cubicBezTo>
                  <a:pt x="180949" y="146310"/>
                  <a:pt x="180434" y="145084"/>
                  <a:pt x="179518" y="144190"/>
                </a:cubicBezTo>
                <a:close/>
                <a:moveTo>
                  <a:pt x="21422" y="114252"/>
                </a:moveTo>
                <a:lnTo>
                  <a:pt x="95431" y="114252"/>
                </a:lnTo>
                <a:cubicBezTo>
                  <a:pt x="92576" y="118705"/>
                  <a:pt x="90307" y="123507"/>
                  <a:pt x="88678" y="128540"/>
                </a:cubicBezTo>
                <a:lnTo>
                  <a:pt x="21431" y="128540"/>
                </a:lnTo>
                <a:cubicBezTo>
                  <a:pt x="17488" y="128540"/>
                  <a:pt x="14288" y="131740"/>
                  <a:pt x="14288" y="135674"/>
                </a:cubicBezTo>
                <a:lnTo>
                  <a:pt x="14288" y="141180"/>
                </a:lnTo>
                <a:cubicBezTo>
                  <a:pt x="14288" y="146281"/>
                  <a:pt x="16108" y="151216"/>
                  <a:pt x="19421" y="155096"/>
                </a:cubicBezTo>
                <a:cubicBezTo>
                  <a:pt x="31366" y="169078"/>
                  <a:pt x="50092" y="176174"/>
                  <a:pt x="76162" y="176174"/>
                </a:cubicBezTo>
                <a:cubicBezTo>
                  <a:pt x="81848" y="176174"/>
                  <a:pt x="87173" y="175841"/>
                  <a:pt x="92164" y="175174"/>
                </a:cubicBezTo>
                <a:cubicBezTo>
                  <a:pt x="94501" y="179862"/>
                  <a:pt x="97424" y="184234"/>
                  <a:pt x="100860" y="188185"/>
                </a:cubicBezTo>
                <a:cubicBezTo>
                  <a:pt x="93278" y="189709"/>
                  <a:pt x="85039" y="190471"/>
                  <a:pt x="76171" y="190471"/>
                </a:cubicBezTo>
                <a:cubicBezTo>
                  <a:pt x="46206" y="190471"/>
                  <a:pt x="23479" y="181842"/>
                  <a:pt x="8563" y="164373"/>
                </a:cubicBezTo>
                <a:cubicBezTo>
                  <a:pt x="3038" y="157905"/>
                  <a:pt x="0" y="149676"/>
                  <a:pt x="0" y="141180"/>
                </a:cubicBezTo>
                <a:lnTo>
                  <a:pt x="0" y="135684"/>
                </a:lnTo>
                <a:cubicBezTo>
                  <a:pt x="0" y="135681"/>
                  <a:pt x="0" y="135677"/>
                  <a:pt x="0" y="135674"/>
                </a:cubicBezTo>
                <a:cubicBezTo>
                  <a:pt x="0" y="123843"/>
                  <a:pt x="9591" y="114252"/>
                  <a:pt x="21422" y="114252"/>
                </a:cubicBezTo>
                <a:close/>
                <a:moveTo>
                  <a:pt x="147610" y="95203"/>
                </a:moveTo>
                <a:cubicBezTo>
                  <a:pt x="176543" y="95203"/>
                  <a:pt x="199997" y="118657"/>
                  <a:pt x="199997" y="147591"/>
                </a:cubicBezTo>
                <a:cubicBezTo>
                  <a:pt x="199997" y="176524"/>
                  <a:pt x="176543" y="199978"/>
                  <a:pt x="147610" y="199978"/>
                </a:cubicBezTo>
                <a:cubicBezTo>
                  <a:pt x="118676" y="199978"/>
                  <a:pt x="95222" y="176524"/>
                  <a:pt x="95222" y="147591"/>
                </a:cubicBezTo>
                <a:cubicBezTo>
                  <a:pt x="95222" y="118657"/>
                  <a:pt x="118676" y="95203"/>
                  <a:pt x="147610" y="95203"/>
                </a:cubicBezTo>
                <a:close/>
                <a:moveTo>
                  <a:pt x="76171" y="14288"/>
                </a:moveTo>
                <a:cubicBezTo>
                  <a:pt x="57760" y="14288"/>
                  <a:pt x="42834" y="29213"/>
                  <a:pt x="42834" y="47625"/>
                </a:cubicBezTo>
                <a:cubicBezTo>
                  <a:pt x="42834" y="66037"/>
                  <a:pt x="57760" y="80963"/>
                  <a:pt x="76171" y="80963"/>
                </a:cubicBezTo>
                <a:cubicBezTo>
                  <a:pt x="94583" y="80963"/>
                  <a:pt x="109509" y="66037"/>
                  <a:pt x="109509" y="47625"/>
                </a:cubicBezTo>
                <a:cubicBezTo>
                  <a:pt x="109509" y="29213"/>
                  <a:pt x="94583" y="14288"/>
                  <a:pt x="76171" y="14288"/>
                </a:cubicBezTo>
                <a:close/>
                <a:moveTo>
                  <a:pt x="76171" y="0"/>
                </a:moveTo>
                <a:cubicBezTo>
                  <a:pt x="102474" y="0"/>
                  <a:pt x="123796" y="21322"/>
                  <a:pt x="123796" y="47625"/>
                </a:cubicBezTo>
                <a:cubicBezTo>
                  <a:pt x="123796" y="73928"/>
                  <a:pt x="102474" y="95250"/>
                  <a:pt x="76171" y="95250"/>
                </a:cubicBezTo>
                <a:cubicBezTo>
                  <a:pt x="49869" y="95250"/>
                  <a:pt x="28546" y="73928"/>
                  <a:pt x="28546" y="47625"/>
                </a:cubicBezTo>
                <a:cubicBezTo>
                  <a:pt x="28546" y="21322"/>
                  <a:pt x="49869" y="0"/>
                  <a:pt x="76171" y="0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spcAft>
                <a:spcPts val="800"/>
              </a:spcAft>
            </a:pPr>
            <a:endParaRPr lang="en-US" sz="1400" i="1">
              <a:solidFill>
                <a:srgbClr val="FFFFFF"/>
              </a:solidFill>
              <a:latin typeface="Segoe Sans Display Semibold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B41537C0-51FB-4E60-C0BE-852C89F8F071}"/>
              </a:ext>
            </a:extLst>
          </p:cNvPr>
          <p:cNvSpPr/>
          <p:nvPr/>
        </p:nvSpPr>
        <p:spPr>
          <a:xfrm>
            <a:off x="770157" y="5807869"/>
            <a:ext cx="286328" cy="394910"/>
          </a:xfrm>
          <a:custGeom>
            <a:avLst/>
            <a:gdLst>
              <a:gd name="connsiteX0" fmla="*/ 48901 w 138113"/>
              <a:gd name="connsiteY0" fmla="*/ 157143 h 190490"/>
              <a:gd name="connsiteX1" fmla="*/ 52035 w 138113"/>
              <a:gd name="connsiteY1" fmla="*/ 170669 h 190490"/>
              <a:gd name="connsiteX2" fmla="*/ 58007 w 138113"/>
              <a:gd name="connsiteY2" fmla="*/ 176127 h 190490"/>
              <a:gd name="connsiteX3" fmla="*/ 58988 w 138113"/>
              <a:gd name="connsiteY3" fmla="*/ 176203 h 190490"/>
              <a:gd name="connsiteX4" fmla="*/ 79124 w 138113"/>
              <a:gd name="connsiteY4" fmla="*/ 176203 h 190490"/>
              <a:gd name="connsiteX5" fmla="*/ 85792 w 138113"/>
              <a:gd name="connsiteY5" fmla="*/ 171602 h 190490"/>
              <a:gd name="connsiteX6" fmla="*/ 86077 w 138113"/>
              <a:gd name="connsiteY6" fmla="*/ 170659 h 190490"/>
              <a:gd name="connsiteX7" fmla="*/ 89202 w 138113"/>
              <a:gd name="connsiteY7" fmla="*/ 157143 h 190490"/>
              <a:gd name="connsiteX8" fmla="*/ 99727 w 138113"/>
              <a:gd name="connsiteY8" fmla="*/ 59198 h 190490"/>
              <a:gd name="connsiteX9" fmla="*/ 109823 w 138113"/>
              <a:gd name="connsiteY9" fmla="*/ 59198 h 190490"/>
              <a:gd name="connsiteX10" fmla="*/ 109823 w 138113"/>
              <a:gd name="connsiteY10" fmla="*/ 59208 h 190490"/>
              <a:gd name="connsiteX11" fmla="*/ 109823 w 138113"/>
              <a:gd name="connsiteY11" fmla="*/ 69304 h 190490"/>
              <a:gd name="connsiteX12" fmla="*/ 99717 w 138113"/>
              <a:gd name="connsiteY12" fmla="*/ 79401 h 190490"/>
              <a:gd name="connsiteX13" fmla="*/ 99542 w 138113"/>
              <a:gd name="connsiteY13" fmla="*/ 79576 h 190490"/>
              <a:gd name="connsiteX14" fmla="*/ 89441 w 138113"/>
              <a:gd name="connsiteY14" fmla="*/ 79396 h 190490"/>
              <a:gd name="connsiteX15" fmla="*/ 89621 w 138113"/>
              <a:gd name="connsiteY15" fmla="*/ 69295 h 190490"/>
              <a:gd name="connsiteX16" fmla="*/ 38386 w 138113"/>
              <a:gd name="connsiteY16" fmla="*/ 59198 h 190490"/>
              <a:gd name="connsiteX17" fmla="*/ 38395 w 138113"/>
              <a:gd name="connsiteY17" fmla="*/ 59208 h 190490"/>
              <a:gd name="connsiteX18" fmla="*/ 48492 w 138113"/>
              <a:gd name="connsiteY18" fmla="*/ 69304 h 190490"/>
              <a:gd name="connsiteX19" fmla="*/ 48667 w 138113"/>
              <a:gd name="connsiteY19" fmla="*/ 69480 h 190490"/>
              <a:gd name="connsiteX20" fmla="*/ 48487 w 138113"/>
              <a:gd name="connsiteY20" fmla="*/ 79581 h 190490"/>
              <a:gd name="connsiteX21" fmla="*/ 38386 w 138113"/>
              <a:gd name="connsiteY21" fmla="*/ 79401 h 190490"/>
              <a:gd name="connsiteX22" fmla="*/ 28289 w 138113"/>
              <a:gd name="connsiteY22" fmla="*/ 69295 h 190490"/>
              <a:gd name="connsiteX23" fmla="*/ 28289 w 138113"/>
              <a:gd name="connsiteY23" fmla="*/ 59555 h 190490"/>
              <a:gd name="connsiteX24" fmla="*/ 38386 w 138113"/>
              <a:gd name="connsiteY24" fmla="*/ 59198 h 190490"/>
              <a:gd name="connsiteX25" fmla="*/ 69056 w 138113"/>
              <a:gd name="connsiteY25" fmla="*/ 38091 h 190490"/>
              <a:gd name="connsiteX26" fmla="*/ 76200 w 138113"/>
              <a:gd name="connsiteY26" fmla="*/ 45235 h 190490"/>
              <a:gd name="connsiteX27" fmla="*/ 76200 w 138113"/>
              <a:gd name="connsiteY27" fmla="*/ 59522 h 190490"/>
              <a:gd name="connsiteX28" fmla="*/ 69056 w 138113"/>
              <a:gd name="connsiteY28" fmla="*/ 66666 h 190490"/>
              <a:gd name="connsiteX29" fmla="*/ 61913 w 138113"/>
              <a:gd name="connsiteY29" fmla="*/ 59522 h 190490"/>
              <a:gd name="connsiteX30" fmla="*/ 61913 w 138113"/>
              <a:gd name="connsiteY30" fmla="*/ 45235 h 190490"/>
              <a:gd name="connsiteX31" fmla="*/ 69056 w 138113"/>
              <a:gd name="connsiteY31" fmla="*/ 38091 h 190490"/>
              <a:gd name="connsiteX32" fmla="*/ 69056 w 138113"/>
              <a:gd name="connsiteY32" fmla="*/ 14278 h 190490"/>
              <a:gd name="connsiteX33" fmla="*/ 69056 w 138113"/>
              <a:gd name="connsiteY33" fmla="*/ 14288 h 190490"/>
              <a:gd name="connsiteX34" fmla="*/ 14326 w 138113"/>
              <a:gd name="connsiteY34" fmla="*/ 66961 h 190490"/>
              <a:gd name="connsiteX35" fmla="*/ 14288 w 138113"/>
              <a:gd name="connsiteY35" fmla="*/ 69056 h 190490"/>
              <a:gd name="connsiteX36" fmla="*/ 14354 w 138113"/>
              <a:gd name="connsiteY36" fmla="*/ 71695 h 190490"/>
              <a:gd name="connsiteX37" fmla="*/ 35366 w 138113"/>
              <a:gd name="connsiteY37" fmla="*/ 113528 h 190490"/>
              <a:gd name="connsiteX38" fmla="*/ 40805 w 138113"/>
              <a:gd name="connsiteY38" fmla="*/ 122349 h 190490"/>
              <a:gd name="connsiteX39" fmla="*/ 41272 w 138113"/>
              <a:gd name="connsiteY39" fmla="*/ 124044 h 190490"/>
              <a:gd name="connsiteX40" fmla="*/ 45606 w 138113"/>
              <a:gd name="connsiteY40" fmla="*/ 142856 h 190490"/>
              <a:gd name="connsiteX41" fmla="*/ 61913 w 138113"/>
              <a:gd name="connsiteY41" fmla="*/ 142856 h 190490"/>
              <a:gd name="connsiteX42" fmla="*/ 61913 w 138113"/>
              <a:gd name="connsiteY42" fmla="*/ 83334 h 190490"/>
              <a:gd name="connsiteX43" fmla="*/ 69056 w 138113"/>
              <a:gd name="connsiteY43" fmla="*/ 76190 h 190490"/>
              <a:gd name="connsiteX44" fmla="*/ 76200 w 138113"/>
              <a:gd name="connsiteY44" fmla="*/ 83334 h 190490"/>
              <a:gd name="connsiteX45" fmla="*/ 76200 w 138113"/>
              <a:gd name="connsiteY45" fmla="*/ 142865 h 190490"/>
              <a:gd name="connsiteX46" fmla="*/ 92497 w 138113"/>
              <a:gd name="connsiteY46" fmla="*/ 142865 h 190490"/>
              <a:gd name="connsiteX47" fmla="*/ 96860 w 138113"/>
              <a:gd name="connsiteY47" fmla="*/ 124044 h 190490"/>
              <a:gd name="connsiteX48" fmla="*/ 101556 w 138113"/>
              <a:gd name="connsiteY48" fmla="*/ 114805 h 190490"/>
              <a:gd name="connsiteX49" fmla="*/ 102765 w 138113"/>
              <a:gd name="connsiteY49" fmla="*/ 113538 h 190490"/>
              <a:gd name="connsiteX50" fmla="*/ 123758 w 138113"/>
              <a:gd name="connsiteY50" fmla="*/ 71704 h 190490"/>
              <a:gd name="connsiteX51" fmla="*/ 123825 w 138113"/>
              <a:gd name="connsiteY51" fmla="*/ 69066 h 190490"/>
              <a:gd name="connsiteX52" fmla="*/ 123787 w 138113"/>
              <a:gd name="connsiteY52" fmla="*/ 66970 h 190490"/>
              <a:gd name="connsiteX53" fmla="*/ 69056 w 138113"/>
              <a:gd name="connsiteY53" fmla="*/ 14278 h 190490"/>
              <a:gd name="connsiteX54" fmla="*/ 69056 w 138113"/>
              <a:gd name="connsiteY54" fmla="*/ 0 h 190490"/>
              <a:gd name="connsiteX55" fmla="*/ 138113 w 138113"/>
              <a:gd name="connsiteY55" fmla="*/ 69056 h 190490"/>
              <a:gd name="connsiteX56" fmla="*/ 112747 w 138113"/>
              <a:gd name="connsiteY56" fmla="*/ 123749 h 190490"/>
              <a:gd name="connsiteX57" fmla="*/ 111081 w 138113"/>
              <a:gd name="connsiteY57" fmla="*/ 126273 h 190490"/>
              <a:gd name="connsiteX58" fmla="*/ 110776 w 138113"/>
              <a:gd name="connsiteY58" fmla="*/ 127254 h 190490"/>
              <a:gd name="connsiteX59" fmla="*/ 100013 w 138113"/>
              <a:gd name="connsiteY59" fmla="*/ 173879 h 190490"/>
              <a:gd name="connsiteX60" fmla="*/ 80772 w 138113"/>
              <a:gd name="connsiteY60" fmla="*/ 190424 h 190490"/>
              <a:gd name="connsiteX61" fmla="*/ 79124 w 138113"/>
              <a:gd name="connsiteY61" fmla="*/ 190490 h 190490"/>
              <a:gd name="connsiteX62" fmla="*/ 58988 w 138113"/>
              <a:gd name="connsiteY62" fmla="*/ 190490 h 190490"/>
              <a:gd name="connsiteX63" fmla="*/ 38538 w 138113"/>
              <a:gd name="connsiteY63" fmla="*/ 175470 h 190490"/>
              <a:gd name="connsiteX64" fmla="*/ 38110 w 138113"/>
              <a:gd name="connsiteY64" fmla="*/ 173879 h 190490"/>
              <a:gd name="connsiteX65" fmla="*/ 27346 w 138113"/>
              <a:gd name="connsiteY65" fmla="*/ 127254 h 190490"/>
              <a:gd name="connsiteX66" fmla="*/ 25384 w 138113"/>
              <a:gd name="connsiteY66" fmla="*/ 123749 h 190490"/>
              <a:gd name="connsiteX67" fmla="*/ 57 w 138113"/>
              <a:gd name="connsiteY67" fmla="*/ 71895 h 190490"/>
              <a:gd name="connsiteX68" fmla="*/ 0 w 138113"/>
              <a:gd name="connsiteY68" fmla="*/ 69056 h 190490"/>
              <a:gd name="connsiteX69" fmla="*/ 38 w 138113"/>
              <a:gd name="connsiteY69" fmla="*/ 66770 h 190490"/>
              <a:gd name="connsiteX70" fmla="*/ 69056 w 138113"/>
              <a:gd name="connsiteY70" fmla="*/ 10 h 190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138113" h="190490">
                <a:moveTo>
                  <a:pt x="48901" y="157143"/>
                </a:moveTo>
                <a:lnTo>
                  <a:pt x="52035" y="170669"/>
                </a:lnTo>
                <a:cubicBezTo>
                  <a:pt x="52705" y="173548"/>
                  <a:pt x="55079" y="175719"/>
                  <a:pt x="58007" y="176127"/>
                </a:cubicBezTo>
                <a:lnTo>
                  <a:pt x="58988" y="176203"/>
                </a:lnTo>
                <a:lnTo>
                  <a:pt x="79124" y="176203"/>
                </a:lnTo>
                <a:cubicBezTo>
                  <a:pt x="82086" y="176199"/>
                  <a:pt x="84737" y="174369"/>
                  <a:pt x="85792" y="171602"/>
                </a:cubicBezTo>
                <a:lnTo>
                  <a:pt x="86077" y="170659"/>
                </a:lnTo>
                <a:lnTo>
                  <a:pt x="89202" y="157143"/>
                </a:lnTo>
                <a:close/>
                <a:moveTo>
                  <a:pt x="99727" y="59198"/>
                </a:moveTo>
                <a:cubicBezTo>
                  <a:pt x="102516" y="56413"/>
                  <a:pt x="107034" y="56413"/>
                  <a:pt x="109823" y="59198"/>
                </a:cubicBezTo>
                <a:lnTo>
                  <a:pt x="109823" y="59208"/>
                </a:lnTo>
                <a:cubicBezTo>
                  <a:pt x="112609" y="61997"/>
                  <a:pt x="112609" y="66515"/>
                  <a:pt x="109823" y="69304"/>
                </a:cubicBezTo>
                <a:lnTo>
                  <a:pt x="99717" y="79401"/>
                </a:lnTo>
                <a:cubicBezTo>
                  <a:pt x="99660" y="79460"/>
                  <a:pt x="99601" y="79519"/>
                  <a:pt x="99542" y="79576"/>
                </a:cubicBezTo>
                <a:cubicBezTo>
                  <a:pt x="96703" y="82316"/>
                  <a:pt x="92180" y="82236"/>
                  <a:pt x="89441" y="79396"/>
                </a:cubicBezTo>
                <a:cubicBezTo>
                  <a:pt x="86701" y="76557"/>
                  <a:pt x="86781" y="72034"/>
                  <a:pt x="89621" y="69295"/>
                </a:cubicBezTo>
                <a:close/>
                <a:moveTo>
                  <a:pt x="38386" y="59198"/>
                </a:moveTo>
                <a:lnTo>
                  <a:pt x="38395" y="59208"/>
                </a:lnTo>
                <a:lnTo>
                  <a:pt x="48492" y="69304"/>
                </a:lnTo>
                <a:cubicBezTo>
                  <a:pt x="48551" y="69362"/>
                  <a:pt x="48610" y="69420"/>
                  <a:pt x="48667" y="69480"/>
                </a:cubicBezTo>
                <a:cubicBezTo>
                  <a:pt x="51406" y="72319"/>
                  <a:pt x="51326" y="76842"/>
                  <a:pt x="48487" y="79581"/>
                </a:cubicBezTo>
                <a:cubicBezTo>
                  <a:pt x="45648" y="82320"/>
                  <a:pt x="41125" y="82240"/>
                  <a:pt x="38386" y="79401"/>
                </a:cubicBezTo>
                <a:lnTo>
                  <a:pt x="28289" y="69295"/>
                </a:lnTo>
                <a:cubicBezTo>
                  <a:pt x="25733" y="66551"/>
                  <a:pt x="25733" y="62298"/>
                  <a:pt x="28289" y="59555"/>
                </a:cubicBezTo>
                <a:cubicBezTo>
                  <a:pt x="30979" y="56668"/>
                  <a:pt x="35499" y="56509"/>
                  <a:pt x="38386" y="59198"/>
                </a:cubicBezTo>
                <a:close/>
                <a:moveTo>
                  <a:pt x="69056" y="38091"/>
                </a:moveTo>
                <a:cubicBezTo>
                  <a:pt x="73002" y="38091"/>
                  <a:pt x="76200" y="41289"/>
                  <a:pt x="76200" y="45235"/>
                </a:cubicBezTo>
                <a:lnTo>
                  <a:pt x="76200" y="59522"/>
                </a:lnTo>
                <a:cubicBezTo>
                  <a:pt x="76200" y="63468"/>
                  <a:pt x="73002" y="66666"/>
                  <a:pt x="69056" y="66666"/>
                </a:cubicBezTo>
                <a:cubicBezTo>
                  <a:pt x="65111" y="66666"/>
                  <a:pt x="61913" y="63468"/>
                  <a:pt x="61913" y="59522"/>
                </a:cubicBezTo>
                <a:lnTo>
                  <a:pt x="61913" y="45235"/>
                </a:lnTo>
                <a:cubicBezTo>
                  <a:pt x="61913" y="41289"/>
                  <a:pt x="65111" y="38091"/>
                  <a:pt x="69056" y="38091"/>
                </a:cubicBezTo>
                <a:close/>
                <a:moveTo>
                  <a:pt x="69056" y="14278"/>
                </a:moveTo>
                <a:lnTo>
                  <a:pt x="69056" y="14288"/>
                </a:lnTo>
                <a:cubicBezTo>
                  <a:pt x="39623" y="14286"/>
                  <a:pt x="15452" y="37549"/>
                  <a:pt x="14326" y="66961"/>
                </a:cubicBezTo>
                <a:lnTo>
                  <a:pt x="14288" y="69056"/>
                </a:lnTo>
                <a:lnTo>
                  <a:pt x="14354" y="71695"/>
                </a:lnTo>
                <a:cubicBezTo>
                  <a:pt x="15078" y="86582"/>
                  <a:pt x="21974" y="100460"/>
                  <a:pt x="35366" y="113528"/>
                </a:cubicBezTo>
                <a:cubicBezTo>
                  <a:pt x="37881" y="115986"/>
                  <a:pt x="39748" y="119015"/>
                  <a:pt x="40805" y="122349"/>
                </a:cubicBezTo>
                <a:lnTo>
                  <a:pt x="41272" y="124044"/>
                </a:lnTo>
                <a:lnTo>
                  <a:pt x="45606" y="142856"/>
                </a:lnTo>
                <a:lnTo>
                  <a:pt x="61913" y="142856"/>
                </a:lnTo>
                <a:lnTo>
                  <a:pt x="61913" y="83334"/>
                </a:lnTo>
                <a:cubicBezTo>
                  <a:pt x="61913" y="79389"/>
                  <a:pt x="65111" y="76190"/>
                  <a:pt x="69056" y="76190"/>
                </a:cubicBezTo>
                <a:cubicBezTo>
                  <a:pt x="73002" y="76190"/>
                  <a:pt x="76200" y="79389"/>
                  <a:pt x="76200" y="83334"/>
                </a:cubicBezTo>
                <a:lnTo>
                  <a:pt x="76200" y="142865"/>
                </a:lnTo>
                <a:lnTo>
                  <a:pt x="92497" y="142865"/>
                </a:lnTo>
                <a:lnTo>
                  <a:pt x="96860" y="124044"/>
                </a:lnTo>
                <a:cubicBezTo>
                  <a:pt x="97646" y="120627"/>
                  <a:pt x="99258" y="117454"/>
                  <a:pt x="101556" y="114805"/>
                </a:cubicBezTo>
                <a:lnTo>
                  <a:pt x="102765" y="113538"/>
                </a:lnTo>
                <a:cubicBezTo>
                  <a:pt x="116138" y="100460"/>
                  <a:pt x="123034" y="86601"/>
                  <a:pt x="123758" y="71704"/>
                </a:cubicBezTo>
                <a:lnTo>
                  <a:pt x="123825" y="69066"/>
                </a:lnTo>
                <a:lnTo>
                  <a:pt x="123787" y="66970"/>
                </a:lnTo>
                <a:cubicBezTo>
                  <a:pt x="122671" y="37551"/>
                  <a:pt x="98497" y="14277"/>
                  <a:pt x="69056" y="14278"/>
                </a:cubicBezTo>
                <a:close/>
                <a:moveTo>
                  <a:pt x="69056" y="0"/>
                </a:moveTo>
                <a:cubicBezTo>
                  <a:pt x="107195" y="0"/>
                  <a:pt x="138113" y="30918"/>
                  <a:pt x="138113" y="69056"/>
                </a:cubicBezTo>
                <a:cubicBezTo>
                  <a:pt x="138113" y="89021"/>
                  <a:pt x="129540" y="107347"/>
                  <a:pt x="112747" y="123749"/>
                </a:cubicBezTo>
                <a:cubicBezTo>
                  <a:pt x="112018" y="124461"/>
                  <a:pt x="111449" y="125322"/>
                  <a:pt x="111081" y="126273"/>
                </a:cubicBezTo>
                <a:lnTo>
                  <a:pt x="110776" y="127254"/>
                </a:lnTo>
                <a:lnTo>
                  <a:pt x="100013" y="173879"/>
                </a:lnTo>
                <a:cubicBezTo>
                  <a:pt x="97905" y="183006"/>
                  <a:pt x="90112" y="189707"/>
                  <a:pt x="80772" y="190424"/>
                </a:cubicBezTo>
                <a:lnTo>
                  <a:pt x="79124" y="190490"/>
                </a:lnTo>
                <a:lnTo>
                  <a:pt x="58988" y="190490"/>
                </a:lnTo>
                <a:cubicBezTo>
                  <a:pt x="49622" y="190490"/>
                  <a:pt x="41340" y="184408"/>
                  <a:pt x="38538" y="175470"/>
                </a:cubicBezTo>
                <a:lnTo>
                  <a:pt x="38110" y="173879"/>
                </a:lnTo>
                <a:lnTo>
                  <a:pt x="27346" y="127254"/>
                </a:lnTo>
                <a:cubicBezTo>
                  <a:pt x="27041" y="125922"/>
                  <a:pt x="26360" y="124705"/>
                  <a:pt x="25384" y="123749"/>
                </a:cubicBezTo>
                <a:cubicBezTo>
                  <a:pt x="9382" y="108128"/>
                  <a:pt x="838" y="90764"/>
                  <a:pt x="57" y="71895"/>
                </a:cubicBezTo>
                <a:lnTo>
                  <a:pt x="0" y="69056"/>
                </a:lnTo>
                <a:lnTo>
                  <a:pt x="38" y="66770"/>
                </a:lnTo>
                <a:cubicBezTo>
                  <a:pt x="1276" y="29546"/>
                  <a:pt x="31811" y="10"/>
                  <a:pt x="69056" y="10"/>
                </a:cubicBezTo>
                <a:close/>
              </a:path>
            </a:pathLst>
          </a:custGeom>
          <a:gradFill flip="none" rotWithShape="1">
            <a:gsLst>
              <a:gs pos="0">
                <a:srgbClr val="0078D4"/>
              </a:gs>
              <a:gs pos="100000">
                <a:srgbClr val="C53FCC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>
              <a:spcAft>
                <a:spcPts val="800"/>
              </a:spcAft>
            </a:pPr>
            <a:endParaRPr lang="en-US" sz="1400" i="1">
              <a:solidFill>
                <a:srgbClr val="FFFFFF"/>
              </a:solidFill>
              <a:latin typeface="Segoe Sans Display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13458559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2B9418-A803-C6CD-2A4F-B08B87564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323DCC7F-2F25-EEE9-3DDE-0F5CF49918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7BB26ED-5AE9-3299-2578-AF7179B1B5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055" r="3055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112A6EC-0B51-A379-7E1B-4D5E879C96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12191998" cy="6858000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ans Display"/>
                <a:ea typeface="+mn-ea"/>
                <a:cs typeface="Segoe UI" pitchFamily="34" charset="0"/>
              </a:endParaRPr>
            </a:p>
          </p:txBody>
        </p:sp>
      </p:grpSp>
      <p:pic>
        <p:nvPicPr>
          <p:cNvPr id="12" name="!Copilot" descr="Copilot Logo">
            <a:extLst>
              <a:ext uri="{FF2B5EF4-FFF2-40B4-BE49-F238E27FC236}">
                <a16:creationId xmlns:a16="http://schemas.microsoft.com/office/drawing/2014/main" id="{CD11AB25-EAC6-3882-39A6-2DD5D9119ED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19766" y="3484090"/>
            <a:ext cx="1552467" cy="1552466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26060EE-9F82-2BD6-B9F3-D52946987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974" y="2597678"/>
            <a:ext cx="11052046" cy="677108"/>
          </a:xfrm>
        </p:spPr>
        <p:txBody>
          <a:bodyPr/>
          <a:lstStyle/>
          <a:p>
            <a:pPr algn="ctr"/>
            <a:r>
              <a:rPr lang="en-US" sz="4400" dirty="0"/>
              <a:t>Thank you for joining us</a:t>
            </a:r>
          </a:p>
        </p:txBody>
      </p:sp>
    </p:spTree>
    <p:extLst>
      <p:ext uri="{BB962C8B-B14F-4D97-AF65-F5344CB8AC3E}">
        <p14:creationId xmlns:p14="http://schemas.microsoft.com/office/powerpoint/2010/main" val="230436414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2_Microsoft 365 Copilot Template">
  <a:themeElements>
    <a:clrScheme name="Microsoft 365 Copilot">
      <a:dk1>
        <a:srgbClr val="091F2C"/>
      </a:dk1>
      <a:lt1>
        <a:srgbClr val="FFFFFF"/>
      </a:lt1>
      <a:dk2>
        <a:srgbClr val="000000"/>
      </a:dk2>
      <a:lt2>
        <a:srgbClr val="FFF8F5"/>
      </a:lt2>
      <a:accent1>
        <a:srgbClr val="0078D4"/>
      </a:accent1>
      <a:accent2>
        <a:srgbClr val="C03BC4"/>
      </a:accent2>
      <a:accent3>
        <a:srgbClr val="FFA38B"/>
      </a:accent3>
      <a:accent4>
        <a:srgbClr val="8661C5"/>
      </a:accent4>
      <a:accent5>
        <a:srgbClr val="8DC8E8"/>
      </a:accent5>
      <a:accent6>
        <a:srgbClr val="FF5C39"/>
      </a:accent6>
      <a:hlink>
        <a:srgbClr val="0078D4"/>
      </a:hlink>
      <a:folHlink>
        <a:srgbClr val="C03BC4"/>
      </a:folHlink>
    </a:clrScheme>
    <a:fontScheme name="FantasyxMSFT">
      <a:majorFont>
        <a:latin typeface="Segoe Sans Display Semibold"/>
        <a:ea typeface=""/>
        <a:cs typeface=""/>
      </a:majorFont>
      <a:minorFont>
        <a:latin typeface="Segoe Sans Display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>
            <a:solidFill>
              <a:schemeClr val="bg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3175">
          <a:solidFill>
            <a:schemeClr val="bg1">
              <a:lumMod val="75000"/>
            </a:schemeClr>
          </a:solidFill>
          <a:prstDash val="dash"/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Presentation1" id="{37823CB9-DC0F-DE49-A7F7-325A4228CCF9}" vid="{6CB80000-F9EA-4D40-9817-2B5CD0D7D27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64e0a3ad-3a37-4cff-beb8-cdd69c3a68b9">Draft</Status>
    <_ip_UnifiedCompliancePolicyUIAction xmlns="http://schemas.microsoft.com/sharepoint/v3" xsi:nil="true"/>
    <TaxCatchAll xmlns="afefc9b0-eaf5-4f8f-8c91-d01d7cb6f86f" xsi:nil="true"/>
    <_ip_UnifiedCompliancePolicyProperties xmlns="http://schemas.microsoft.com/sharepoint/v3" xsi:nil="true"/>
    <lcf76f155ced4ddcb4097134ff3c332f xmlns="64e0a3ad-3a37-4cff-beb8-cdd69c3a68b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B966FD79224D4BA85F25A47B1A9825" ma:contentTypeVersion="18" ma:contentTypeDescription="Create a new document." ma:contentTypeScope="" ma:versionID="983d99faeae2b757cdc27ea0702ce7a5">
  <xsd:schema xmlns:xsd="http://www.w3.org/2001/XMLSchema" xmlns:xs="http://www.w3.org/2001/XMLSchema" xmlns:p="http://schemas.microsoft.com/office/2006/metadata/properties" xmlns:ns1="http://schemas.microsoft.com/sharepoint/v3" xmlns:ns2="64e0a3ad-3a37-4cff-beb8-cdd69c3a68b9" xmlns:ns3="afefc9b0-eaf5-4f8f-8c91-d01d7cb6f86f" targetNamespace="http://schemas.microsoft.com/office/2006/metadata/properties" ma:root="true" ma:fieldsID="2ef0cbd0c9e4034fcead65c1d0b415e5" ns1:_="" ns2:_="" ns3:_="">
    <xsd:import namespace="http://schemas.microsoft.com/sharepoint/v3"/>
    <xsd:import namespace="64e0a3ad-3a37-4cff-beb8-cdd69c3a68b9"/>
    <xsd:import namespace="afefc9b0-eaf5-4f8f-8c91-d01d7cb6f86f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BillingMetadata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e0a3ad-3a37-4cff-beb8-cdd69c3a68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BillingMetadata" ma:index="24" nillable="true" ma:displayName="MediaServiceBillingMetadata" ma:hidden="true" ma:internalName="MediaServiceBillingMetadata" ma:readOnly="true">
      <xsd:simpleType>
        <xsd:restriction base="dms:Text"/>
      </xsd:simpleType>
    </xsd:element>
    <xsd:element name="Status" ma:index="25" nillable="true" ma:displayName="Status" ma:default="Draft" ma:format="Dropdown" ma:internalName="Status">
      <xsd:simpleType>
        <xsd:restriction base="dms:Choice">
          <xsd:enumeration value="Draft"/>
          <xsd:enumeration value="Final"/>
          <xsd:enumeration value="Reference"/>
          <xsd:enumeration value="Dont Us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efc9b0-eaf5-4f8f-8c91-d01d7cb6f86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28586fa-fa4e-4fdc-9f22-8e4b8976a0d9}" ma:internalName="TaxCatchAll" ma:showField="CatchAllData" ma:web="afefc9b0-eaf5-4f8f-8c91-d01d7cb6f8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AB87D88-D3AD-4959-99E3-B34E3F8CADEF}">
  <ds:schemaRefs>
    <ds:schemaRef ds:uri="http://schemas.microsoft.com/office/2006/metadata/properties"/>
    <ds:schemaRef ds:uri="http://schemas.microsoft.com/office/infopath/2007/PartnerControls"/>
    <ds:schemaRef ds:uri="64e0a3ad-3a37-4cff-beb8-cdd69c3a68b9"/>
    <ds:schemaRef ds:uri="http://schemas.microsoft.com/sharepoint/v3"/>
    <ds:schemaRef ds:uri="afefc9b0-eaf5-4f8f-8c91-d01d7cb6f86f"/>
  </ds:schemaRefs>
</ds:datastoreItem>
</file>

<file path=customXml/itemProps2.xml><?xml version="1.0" encoding="utf-8"?>
<ds:datastoreItem xmlns:ds="http://schemas.openxmlformats.org/officeDocument/2006/customXml" ds:itemID="{D75DE6AF-EF8E-422B-A1E6-168D81E633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0E8DF3-74D1-4515-A3C8-9A1F59722A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4e0a3ad-3a37-4cff-beb8-cdd69c3a68b9"/>
    <ds:schemaRef ds:uri="afefc9b0-eaf5-4f8f-8c91-d01d7cb6f8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87867195-f2b8-4ac2-b0b6-6bb73cb33afc}" enabled="1" method="Privilege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2</Words>
  <Application>Microsoft Office PowerPoint</Application>
  <PresentationFormat>Widescreen</PresentationFormat>
  <Paragraphs>12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3" baseType="lpstr">
      <vt:lpstr>Aptos</vt:lpstr>
      <vt:lpstr>Aptos Display</vt:lpstr>
      <vt:lpstr>Arial</vt:lpstr>
      <vt:lpstr>Consolas</vt:lpstr>
      <vt:lpstr>Segoe Sans Display</vt:lpstr>
      <vt:lpstr>Segoe Sans Display Semibold</vt:lpstr>
      <vt:lpstr>Segoe UI</vt:lpstr>
      <vt:lpstr>Segoe UI Semibold</vt:lpstr>
      <vt:lpstr>Segoe UI Variable Display Semibold</vt:lpstr>
      <vt:lpstr>Wingdings</vt:lpstr>
      <vt:lpstr>Office Theme</vt:lpstr>
      <vt:lpstr>2_Office Theme</vt:lpstr>
      <vt:lpstr>2_Microsoft 365 Copilot Template</vt:lpstr>
      <vt:lpstr>think-cell Slide</vt:lpstr>
      <vt:lpstr>PowerPoint Presentation</vt:lpstr>
      <vt:lpstr>Customers want controls</vt:lpstr>
      <vt:lpstr>Foundational AI Commitments</vt:lpstr>
      <vt:lpstr>Foundational AI Commitments </vt:lpstr>
      <vt:lpstr>Copilot Control System</vt:lpstr>
      <vt:lpstr>Event schedule</vt:lpstr>
      <vt:lpstr>Key takeaways from the deep dive</vt:lpstr>
      <vt:lpstr>The journey continues</vt:lpstr>
      <vt:lpstr>Thank you for joining 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fe Abugo</dc:creator>
  <cp:lastModifiedBy>Aaron Bode (FREEMIND SEATTLE LLC)</cp:lastModifiedBy>
  <cp:revision>2</cp:revision>
  <dcterms:created xsi:type="dcterms:W3CDTF">2025-06-12T15:30:04Z</dcterms:created>
  <dcterms:modified xsi:type="dcterms:W3CDTF">2025-06-19T15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B966FD79224D4BA85F25A47B1A9825</vt:lpwstr>
  </property>
</Properties>
</file>